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theme/theme2.xml" ContentType="application/vnd.openxmlformats-officedocument.theme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95" r:id="rId9"/>
    <p:sldMasterId id="2147483935" r:id="rId10"/>
    <p:sldMasterId id="2147484106" r:id="rId11"/>
  </p:sldMasterIdLst>
  <p:notesMasterIdLst>
    <p:notesMasterId r:id="rId33"/>
  </p:notesMasterIdLst>
  <p:handoutMasterIdLst>
    <p:handoutMasterId r:id="rId34"/>
  </p:handoutMasterIdLst>
  <p:sldIdLst>
    <p:sldId id="263" r:id="rId12"/>
    <p:sldId id="261" r:id="rId13"/>
    <p:sldId id="2147474506" r:id="rId14"/>
    <p:sldId id="2147483452" r:id="rId15"/>
    <p:sldId id="259" r:id="rId16"/>
    <p:sldId id="2147483453" r:id="rId17"/>
    <p:sldId id="2134959099" r:id="rId18"/>
    <p:sldId id="2147483543" r:id="rId19"/>
    <p:sldId id="2134959194" r:id="rId20"/>
    <p:sldId id="2147483455" r:id="rId21"/>
    <p:sldId id="2147483641" r:id="rId22"/>
    <p:sldId id="257" r:id="rId23"/>
    <p:sldId id="262" r:id="rId24"/>
    <p:sldId id="2147472165" r:id="rId25"/>
    <p:sldId id="2147483637" r:id="rId26"/>
    <p:sldId id="2147483187" r:id="rId27"/>
    <p:sldId id="2147483188" r:id="rId28"/>
    <p:sldId id="2147483644" r:id="rId29"/>
    <p:sldId id="2147478877" r:id="rId30"/>
    <p:sldId id="2147474466" r:id="rId31"/>
    <p:sldId id="2147483463" r:id="rId32"/>
  </p:sldIdLst>
  <p:sldSz cx="12192000" cy="6858000"/>
  <p:notesSz cx="6858000" cy="9144000"/>
  <p:defaultTextStyle>
    <a:defPPr>
      <a:defRPr lang="en-US"/>
    </a:defPPr>
    <a:lvl1pPr marL="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49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898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48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797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46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F57E2898-D866-4C85-9467-1EB1BA778331}">
          <p14:sldIdLst>
            <p14:sldId id="263"/>
            <p14:sldId id="261"/>
          </p14:sldIdLst>
        </p14:section>
        <p14:section name="Project Status" id="{F1C3D653-EAC3-41DF-B507-7970427F9F0F}">
          <p14:sldIdLst>
            <p14:sldId id="2147474506"/>
            <p14:sldId id="2147483452"/>
            <p14:sldId id="259"/>
          </p14:sldIdLst>
        </p14:section>
        <p14:section name="PMR" id="{383219F8-4A65-487D-A5BB-715D3708647C}">
          <p14:sldIdLst>
            <p14:sldId id="2147483453"/>
            <p14:sldId id="2134959099"/>
            <p14:sldId id="2147483543"/>
            <p14:sldId id="2134959194"/>
            <p14:sldId id="2147483455"/>
            <p14:sldId id="2147483641"/>
            <p14:sldId id="257"/>
            <p14:sldId id="262"/>
            <p14:sldId id="2147472165"/>
          </p14:sldIdLst>
        </p14:section>
        <p14:section name="Appendix" id="{08B69D4B-743F-4262-B354-3530F3DDAF3C}">
          <p14:sldIdLst>
            <p14:sldId id="2147483637"/>
            <p14:sldId id="2147483187"/>
            <p14:sldId id="2147483188"/>
            <p14:sldId id="2147483644"/>
            <p14:sldId id="2147478877"/>
            <p14:sldId id="2147474466"/>
            <p14:sldId id="214748346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320" userDrawn="1">
          <p15:clr>
            <a:srgbClr val="A4A3A4"/>
          </p15:clr>
        </p15:guide>
        <p15:guide id="3" orient="horz" userDrawn="1">
          <p15:clr>
            <a:srgbClr val="A4A3A4"/>
          </p15:clr>
        </p15:guide>
        <p15:guide id="4" pos="7680" userDrawn="1">
          <p15:clr>
            <a:srgbClr val="A4A3A4"/>
          </p15:clr>
        </p15:guide>
        <p15:guide id="5" pos="5120" userDrawn="1">
          <p15:clr>
            <a:srgbClr val="A4A3A4"/>
          </p15:clr>
        </p15:guide>
        <p15:guide id="6" pos="254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B0E0208-FA7F-60EE-D4F5-B436CA4DAAF6}" name="Katya Svoboda" initials="KS" userId="S::Katya.Svoboda@eversanaconsulting.com::1d993d32-4610-4636-8e83-75d7146fa359" providerId="AD"/>
  <p188:author id="{53F7E00B-117B-8066-09DF-8CEEE55649D1}" name="Faruk Abdullah" initials="FA" userId="S::faruk.abdullah@eversana.com::31f11e1a-e347-4af7-aba4-38d8238e14cc" providerId="AD"/>
  <p188:author id="{D86EB518-89B2-C21C-55E9-6D01EA287EE5}" name="Ria Rungta" initials="RR" userId="S::ria.rungta@eversana.com::c9a9f70f-8f24-4c8c-b4af-5c04b35cd951" providerId="AD"/>
  <p188:author id="{9A48E84F-B83E-8915-F035-E6C1F8332152}" name="Katya Svoboda" initials="KS" userId="S::katya.svoboda@eversanaconsulting.com::1d993d32-4610-4636-8e83-75d7146fa359" providerId="AD"/>
  <p188:author id="{2F55917D-C1E5-5E0F-DA84-BF5C6700A765}" name="William Bedell" initials="WB" userId="S::William.Bedell2@eversana.com::81994175-7389-4f1c-85e6-b38ae46fe76f" providerId="AD"/>
  <p188:author id="{F9827180-424C-3247-E4B4-13274525E4CC}" name="Meagan Hamblin" initials="MH" userId="S::meagan.hamblin@eversana.com::0283ed0d-ffde-42e9-bccd-aa90a6a25ec0" providerId="AD"/>
  <p188:author id="{BD33E885-9748-0BE1-988C-B818A559AE5A}" name="Jiying Han" initials="JH" userId="S::Jiying.Han@eversana.com::a9752443-d41f-4165-91d5-d274782f44e4" providerId="AD"/>
  <p188:author id="{986D9786-4B1A-B500-873A-D7393E627D3E}" name="Alan Crowther" initials="AC" userId="S::alan.crowther@eversana.com::5accd5b6-3d24-4f8e-a724-2de4ce56eec5" providerId="AD"/>
  <p188:author id="{FB2AA992-7897-C1A9-3DA7-1311AF094E3A}" name="Bill Bedell" initials="BB" userId="Bill Bedell" providerId="None"/>
  <p188:author id="{B6067095-3603-475F-BBE3-612D9D838D37}" name="Lindsay Reel" initials="LR" userId="S::lindsay.reel@eversana.com::c307a121-c7dc-45de-9aa6-07f9d5aeeab0" providerId="AD"/>
  <p188:author id="{7DD86B9A-0C95-4D71-F1B8-3FEB17424002}" name="Caroline Maloney" initials="CM" userId="S::Caroline.Maloney@eversanaconsulting.com::eecdf791-a487-4b8e-862e-8a0c3674bd9c" providerId="AD"/>
  <p188:author id="{B8CB6CAA-FBA1-FFDF-6969-956FD120073D}" name="Matthew Logan" initials="ML" userId="S::Matthew.Logan@eversana.com::3bb6593b-1498-4917-b16f-6a22c44273f0" providerId="AD"/>
  <p188:author id="{0E5D1BAF-65B3-0B63-7FC2-B9CFEA4A39FC}" name="Eric Skoritowski" initials="ES" userId="S::Eric.Skoritowski@eversana.com::59d0b86d-4fa0-4338-9c45-841f11844cd1" providerId="AD"/>
  <p188:author id="{B80E85B0-9E93-989E-2860-916D2228DC47}" name="Calvin Fujimoto" initials="CF" userId="S::Calvin.Fujimoto@eversana.com::7ba0dd47-9f46-4553-adb6-002b4f87b154" providerId="AD"/>
  <p188:author id="{A1FEE4B2-1F5D-D367-078B-DA0CC88A1839}" name="Pierce Gould" initials="PG" userId="S::Pierce.Gould@eversana.com::599a45a9-f2ac-49e8-9044-759a8a742ca6" providerId="AD"/>
  <p188:author id="{FA79AEC8-45FD-E431-9C5A-3A5875C1FA2F}" name="Chad McAuliffe" initials="CM" userId="S::chad.mcauliffe@eversanaconsulting.com::f9a7a974-4c23-477d-aa6d-2072dc6d1d9a" providerId="AD"/>
  <p188:author id="{426E0AEA-F22C-ED14-BAA0-0D62FBE1263A}" name="Elizabeth Christman" initials="EC" userId="S::liz.christman@eversana.com::fa56c0ee-d5ec-480b-b05a-347c2271fb4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8E9E9"/>
    <a:srgbClr val="C00000"/>
    <a:srgbClr val="E7E7E7"/>
    <a:srgbClr val="FFFFFF"/>
    <a:srgbClr val="00357D"/>
    <a:srgbClr val="FF00FF"/>
    <a:srgbClr val="F2F2F2"/>
    <a:srgbClr val="002352"/>
    <a:srgbClr val="A2A5A8"/>
    <a:srgbClr val="F7F7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A36E3B5-EA1B-4A4D-A7D1-2C729CD345E1}" v="13" dt="2025-11-15T21:39:39.51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48" d="100"/>
          <a:sy n="48" d="100"/>
        </p:scale>
        <p:origin x="682" y="43"/>
      </p:cViewPr>
      <p:guideLst>
        <p:guide orient="horz" pos="4320"/>
        <p:guide orient="horz"/>
        <p:guide pos="7680"/>
        <p:guide pos="5120"/>
        <p:guide pos="254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microsoft.com/office/2015/10/relationships/revisionInfo" Target="revisionInfo.xml"/><Relationship Id="rId21" Type="http://schemas.openxmlformats.org/officeDocument/2006/relationships/slide" Target="slides/slide10.xml"/><Relationship Id="rId34" Type="http://schemas.openxmlformats.org/officeDocument/2006/relationships/handoutMaster" Target="handoutMasters/handoutMaster1.xml"/><Relationship Id="rId7" Type="http://schemas.openxmlformats.org/officeDocument/2006/relationships/customXml" Target="../customXml/item7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slide" Target="slides/slide18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Master" Target="slideMasters/slideMaster3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theme" Target="theme/theme1.xml"/><Relationship Id="rId40" Type="http://schemas.microsoft.com/office/2018/10/relationships/authors" Target="authors.xml"/><Relationship Id="rId5" Type="http://schemas.openxmlformats.org/officeDocument/2006/relationships/customXml" Target="../customXml/item5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viewProps" Target="viewProps.xml"/><Relationship Id="rId10" Type="http://schemas.openxmlformats.org/officeDocument/2006/relationships/slideMaster" Target="slideMasters/slideMaster2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1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presProps" Target="presProps.xml"/><Relationship Id="rId8" Type="http://schemas.openxmlformats.org/officeDocument/2006/relationships/customXml" Target="../customXml/item8.xml"/><Relationship Id="rId3" Type="http://schemas.openxmlformats.org/officeDocument/2006/relationships/customXml" Target="../customXml/item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0198326771653556E-2"/>
          <c:y val="9.8660242454463407E-2"/>
          <c:w val="0.86818061023622051"/>
          <c:h val="0.83783963842029785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-Values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13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8254937432723596E-2"/>
                  <c:y val="4.2634946492603465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l"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80680F03-CC9E-4ADE-86F2-3C2F67B07263}" type="CELLRANGE">
                      <a:rPr lang="en-US"/>
                      <a:pPr algn="l"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l"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1485047537371191"/>
                      <c:h val="6.4033779766884041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8CA8-416F-9381-B7774206F503}"/>
                </c:ext>
              </c:extLst>
            </c:dLbl>
            <c:dLbl>
              <c:idx val="1"/>
              <c:layout>
                <c:manualLayout>
                  <c:x val="-0.17013468031134873"/>
                  <c:y val="-7.2613252013030441E-2"/>
                </c:manualLayout>
              </c:layout>
              <c:tx>
                <c:rich>
                  <a:bodyPr/>
                  <a:lstStyle/>
                  <a:p>
                    <a:fld id="{B04A4796-9F0D-4272-A09E-FD70983D18AD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8CA8-416F-9381-B7774206F503}"/>
                </c:ext>
              </c:extLst>
            </c:dLbl>
            <c:dLbl>
              <c:idx val="2"/>
              <c:layout>
                <c:manualLayout>
                  <c:x val="-1.9744386668509011E-2"/>
                  <c:y val="3.7838257181110981E-2"/>
                </c:manualLayout>
              </c:layout>
              <c:tx>
                <c:rich>
                  <a:bodyPr/>
                  <a:lstStyle/>
                  <a:p>
                    <a:fld id="{9B42AB2D-E5E1-4A2F-8F81-7FB74B2CD7C4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282037401574801"/>
                      <c:h val="7.153124559970192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8CA8-416F-9381-B7774206F503}"/>
                </c:ext>
              </c:extLst>
            </c:dLbl>
            <c:dLbl>
              <c:idx val="3"/>
              <c:layout>
                <c:manualLayout>
                  <c:x val="-0.12833914493558848"/>
                  <c:y val="4.1696899747485978E-2"/>
                </c:manualLayout>
              </c:layout>
              <c:tx>
                <c:rich>
                  <a:bodyPr/>
                  <a:lstStyle/>
                  <a:p>
                    <a:fld id="{6F70B215-3456-4090-81C2-331DE45BD756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8CA8-416F-9381-B7774206F503}"/>
                </c:ext>
              </c:extLst>
            </c:dLbl>
            <c:dLbl>
              <c:idx val="4"/>
              <c:layout>
                <c:manualLayout>
                  <c:x val="-0.12484839404081939"/>
                  <c:y val="-7.2431509753348486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l"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4298453D-4F43-41BE-A885-97D8E6FAA9BD}" type="CELLRANGE">
                      <a:rPr lang="en-US" dirty="0"/>
                      <a:pPr algn="l"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l"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855226681638266"/>
                      <c:h val="6.4477478398339616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8CA8-416F-9381-B7774206F503}"/>
                </c:ext>
              </c:extLst>
            </c:dLbl>
            <c:dLbl>
              <c:idx val="5"/>
              <c:layout>
                <c:manualLayout>
                  <c:x val="-0.13487355474165949"/>
                  <c:y val="-8.039648431497215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l"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D3D01C7-D23D-49A6-A129-3D61B80B461B}" type="CELLRANGE">
                      <a:rPr lang="en-US" dirty="0"/>
                      <a:pPr algn="l"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l"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848733933557864"/>
                      <c:h val="7.7848254151309484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8CA8-416F-9381-B7774206F503}"/>
                </c:ext>
              </c:extLst>
            </c:dLbl>
            <c:dLbl>
              <c:idx val="6"/>
              <c:layout>
                <c:manualLayout>
                  <c:x val="3.9570717572551768E-2"/>
                  <c:y val="-3.5341977696418302E-2"/>
                </c:manualLayout>
              </c:layout>
              <c:tx>
                <c:rich>
                  <a:bodyPr/>
                  <a:lstStyle/>
                  <a:p>
                    <a:fld id="{4128A21D-1C3F-4116-8089-6C22FDA9F793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3549063196146093"/>
                      <c:h val="7.153127823250266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8CA8-416F-9381-B7774206F503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A27D5920-1356-4B5B-9A82-5648E0A5D796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497793417896469"/>
                      <c:h val="0.1091484882390069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8CA8-416F-9381-B7774206F503}"/>
                </c:ext>
              </c:extLst>
            </c:dLbl>
            <c:dLbl>
              <c:idx val="8"/>
              <c:layout>
                <c:manualLayout>
                  <c:x val="2.480497949663615E-2"/>
                  <c:y val="4.8080109604562764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l"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D17BA190-1A0B-4A74-9909-1825F08303F5}" type="CELLRANGE">
                      <a:rPr lang="en-US"/>
                      <a:pPr algn="l"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l"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7365624999999993"/>
                      <c:h val="7.3874995455524395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8CA8-416F-9381-B7774206F503}"/>
                </c:ext>
              </c:extLst>
            </c:dLbl>
            <c:dLbl>
              <c:idx val="9"/>
              <c:layout>
                <c:manualLayout>
                  <c:x val="-0.16782811260807726"/>
                  <c:y val="6.6944406119924221E-2"/>
                </c:manualLayout>
              </c:layout>
              <c:tx>
                <c:rich>
                  <a:bodyPr/>
                  <a:lstStyle/>
                  <a:p>
                    <a:fld id="{5F6A05C3-BF32-443C-A0D9-69E5CB480559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8CA8-416F-9381-B7774206F50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l"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38100" cap="rnd">
                <a:solidFill>
                  <a:schemeClr val="accent1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xVal>
            <c:numRef>
              <c:f>Sheet1!$A$2:$A$11</c:f>
              <c:numCache>
                <c:formatCode>General</c:formatCode>
                <c:ptCount val="10"/>
                <c:pt idx="0">
                  <c:v>60000</c:v>
                </c:pt>
                <c:pt idx="1">
                  <c:v>25000</c:v>
                </c:pt>
                <c:pt idx="2">
                  <c:v>20000</c:v>
                </c:pt>
                <c:pt idx="3">
                  <c:v>10000</c:v>
                </c:pt>
                <c:pt idx="4">
                  <c:v>4000</c:v>
                </c:pt>
                <c:pt idx="5">
                  <c:v>36000</c:v>
                </c:pt>
                <c:pt idx="6">
                  <c:v>36000</c:v>
                </c:pt>
                <c:pt idx="7">
                  <c:v>30000</c:v>
                </c:pt>
                <c:pt idx="8">
                  <c:v>14000</c:v>
                </c:pt>
                <c:pt idx="9">
                  <c:v>12000</c:v>
                </c:pt>
              </c:numCache>
            </c:numRef>
          </c:xVal>
          <c:yVal>
            <c:numRef>
              <c:f>Sheet1!$B$2:$B$11</c:f>
              <c:numCache>
                <c:formatCode>General</c:formatCode>
                <c:ptCount val="10"/>
                <c:pt idx="0">
                  <c:v>113000</c:v>
                </c:pt>
                <c:pt idx="1">
                  <c:v>343000</c:v>
                </c:pt>
                <c:pt idx="2">
                  <c:v>297000</c:v>
                </c:pt>
                <c:pt idx="3">
                  <c:v>354000</c:v>
                </c:pt>
                <c:pt idx="4">
                  <c:v>367000</c:v>
                </c:pt>
                <c:pt idx="5">
                  <c:v>580000</c:v>
                </c:pt>
                <c:pt idx="6">
                  <c:v>440000</c:v>
                </c:pt>
                <c:pt idx="7">
                  <c:v>360000</c:v>
                </c:pt>
                <c:pt idx="8">
                  <c:v>271000</c:v>
                </c:pt>
                <c:pt idx="9">
                  <c:v>277000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Sheet1!$C$2:$C$11</c15:f>
                <c15:dlblRangeCache>
                  <c:ptCount val="10"/>
                  <c:pt idx="0">
                    <c:v>Inqovi (MDS / CMML)</c:v>
                  </c:pt>
                  <c:pt idx="1">
                    <c:v>Fruzaqla (CRC)</c:v>
                  </c:pt>
                  <c:pt idx="2">
                    <c:v>Orserdu (Breast cancer)</c:v>
                  </c:pt>
                  <c:pt idx="3">
                    <c:v>Ibtrozi (NSCLC)</c:v>
                  </c:pt>
                  <c:pt idx="4">
                    <c:v>Augtyro (NSCLC)</c:v>
                  </c:pt>
                  <c:pt idx="5">
                    <c:v>Elrexfio (Multiple myeloma)</c:v>
                  </c:pt>
                  <c:pt idx="6">
                    <c:v>Talvey (Multiple myeloma)</c:v>
                  </c:pt>
                  <c:pt idx="7">
                    <c:v>Gomekli (Neurofibromatosis type 1)</c:v>
                  </c:pt>
                  <c:pt idx="8">
                    <c:v>Krazati (NSCLC)</c:v>
                  </c:pt>
                  <c:pt idx="9">
                    <c:v>Jaypirca (Mantle cell lymphoma)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B-8CA8-416F-9381-B7774206F5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774958015"/>
        <c:axId val="1774964255"/>
      </c:scatterChart>
      <c:valAx>
        <c:axId val="1774958015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,\k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74964255"/>
        <c:crosses val="autoZero"/>
        <c:crossBetween val="midCat"/>
      </c:valAx>
      <c:valAx>
        <c:axId val="17749642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0,\k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74958015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0198326771653556E-2"/>
          <c:y val="9.8660242454463407E-2"/>
          <c:w val="0.86818061023622051"/>
          <c:h val="0.83783963842029785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-Values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13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1458200967217994E-16"/>
                  <c:y val="-6.7968745818851845E-2"/>
                </c:manualLayout>
              </c:layout>
              <c:tx>
                <c:rich>
                  <a:bodyPr/>
                  <a:lstStyle/>
                  <a:p>
                    <a:fld id="{B4D02074-AF66-40E3-BCB8-4E78E17B2F6C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7F16-4D2F-90EB-E632A065567C}"/>
                </c:ext>
              </c:extLst>
            </c:dLbl>
            <c:dLbl>
              <c:idx val="1"/>
              <c:layout>
                <c:manualLayout>
                  <c:x val="-0.20468749999999999"/>
                  <c:y val="2.3437498558224745E-2"/>
                </c:manualLayout>
              </c:layout>
              <c:tx>
                <c:rich>
                  <a:bodyPr/>
                  <a:lstStyle/>
                  <a:p>
                    <a:fld id="{3C2453C5-FD77-46DB-8206-A059A4C4A3EA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7F16-4D2F-90EB-E632A065567C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64B10DEC-FF9D-4A7D-A80C-C3152E42BBE6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2641575179677554"/>
                      <c:h val="7.1531208104012825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7F16-4D2F-90EB-E632A065567C}"/>
                </c:ext>
              </c:extLst>
            </c:dLbl>
            <c:dLbl>
              <c:idx val="3"/>
              <c:layout>
                <c:manualLayout>
                  <c:x val="-1.1458200967217994E-16"/>
                  <c:y val="5.6249996539739389E-2"/>
                </c:manualLayout>
              </c:layout>
              <c:tx>
                <c:rich>
                  <a:bodyPr/>
                  <a:lstStyle/>
                  <a:p>
                    <a:fld id="{75442FEF-0284-4DFF-B1FF-924EF69EC483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7F16-4D2F-90EB-E632A065567C}"/>
                </c:ext>
              </c:extLst>
            </c:dLbl>
            <c:dLbl>
              <c:idx val="4"/>
              <c:layout>
                <c:manualLayout>
                  <c:x val="-0.14477473832903329"/>
                  <c:y val="7.1440029554550782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l"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7548D725-1756-47EA-8DB4-6A4F7E3026A6}" type="CELLRANGE">
                      <a:rPr lang="en-US"/>
                      <a:pPr algn="l"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l"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72942241293349"/>
                      <c:h val="9.0264351788643893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7F16-4D2F-90EB-E632A065567C}"/>
                </c:ext>
              </c:extLst>
            </c:dLbl>
            <c:dLbl>
              <c:idx val="5"/>
              <c:layout>
                <c:manualLayout>
                  <c:x val="-0.18546879921259843"/>
                  <c:y val="-6.147736928032458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l"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F1002DA-7C0C-4D51-844A-618EB35513C8}" type="CELLRANGE">
                      <a:rPr lang="en-US"/>
                      <a:pPr algn="l"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l"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729685039370076"/>
                      <c:h val="0.11568648422060464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7F16-4D2F-90EB-E632A065567C}"/>
                </c:ext>
              </c:extLst>
            </c:dLbl>
            <c:dLbl>
              <c:idx val="6"/>
              <c:layout>
                <c:manualLayout>
                  <c:x val="-0.24433617099145635"/>
                  <c:y val="3.5730016943044854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l"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F0004824-1513-40C4-A3BB-A6D1B4216DB8}" type="CELLRANGE">
                      <a:rPr lang="en-US"/>
                      <a:pPr algn="l"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l"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87505026807808"/>
                      <c:h val="0.10848360866713966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7F16-4D2F-90EB-E632A065567C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203DC5E1-14A9-493E-9BA5-9C81D40FAE76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7F16-4D2F-90EB-E632A065567C}"/>
                </c:ext>
              </c:extLst>
            </c:dLbl>
            <c:dLbl>
              <c:idx val="8"/>
              <c:layout>
                <c:manualLayout>
                  <c:x val="-2.3437500000001478E-3"/>
                  <c:y val="-3.6328122765248355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l"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4F08316D-4489-47EE-99B9-DD507C964F6D}" type="CELLRANGE">
                      <a:rPr lang="en-US"/>
                      <a:pPr algn="l"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l"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7365624999999993"/>
                      <c:h val="7.3874995455524395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7F16-4D2F-90EB-E632A065567C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3ECCEC6F-5755-4242-BC56-EB4025E84127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7F16-4D2F-90EB-E632A065567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l"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38100" cap="rnd">
                <a:solidFill>
                  <a:schemeClr val="accent1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xVal>
            <c:numRef>
              <c:f>Sheet1!$A$2:$A$11</c:f>
              <c:numCache>
                <c:formatCode>General</c:formatCode>
                <c:ptCount val="10"/>
                <c:pt idx="0">
                  <c:v>55000</c:v>
                </c:pt>
                <c:pt idx="1">
                  <c:v>25000</c:v>
                </c:pt>
                <c:pt idx="2">
                  <c:v>20000</c:v>
                </c:pt>
                <c:pt idx="3">
                  <c:v>50000</c:v>
                </c:pt>
                <c:pt idx="4">
                  <c:v>42000</c:v>
                </c:pt>
                <c:pt idx="5">
                  <c:v>42000</c:v>
                </c:pt>
                <c:pt idx="6">
                  <c:v>30000</c:v>
                </c:pt>
                <c:pt idx="7">
                  <c:v>500</c:v>
                </c:pt>
                <c:pt idx="8">
                  <c:v>34000</c:v>
                </c:pt>
                <c:pt idx="9">
                  <c:v>400</c:v>
                </c:pt>
              </c:numCache>
            </c:numRef>
          </c:xVal>
          <c:yVal>
            <c:numRef>
              <c:f>Sheet1!$B$2:$B$11</c:f>
              <c:numCache>
                <c:formatCode>General</c:formatCode>
                <c:ptCount val="10"/>
                <c:pt idx="0">
                  <c:v>244000</c:v>
                </c:pt>
                <c:pt idx="1">
                  <c:v>346000</c:v>
                </c:pt>
                <c:pt idx="2">
                  <c:v>569000</c:v>
                </c:pt>
                <c:pt idx="3">
                  <c:v>149000</c:v>
                </c:pt>
                <c:pt idx="4">
                  <c:v>138000</c:v>
                </c:pt>
                <c:pt idx="5">
                  <c:v>151000</c:v>
                </c:pt>
                <c:pt idx="6">
                  <c:v>160000</c:v>
                </c:pt>
                <c:pt idx="7">
                  <c:v>594000</c:v>
                </c:pt>
                <c:pt idx="8">
                  <c:v>369000</c:v>
                </c:pt>
                <c:pt idx="9">
                  <c:v>436000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Sheet1!$C$2:$C$11</c15:f>
                <c15:dlblRangeCache>
                  <c:ptCount val="10"/>
                  <c:pt idx="0">
                    <c:v>ATTRuby (ATTR-CM)</c:v>
                  </c:pt>
                  <c:pt idx="1">
                    <c:v>Ojjaara (myelofibrosis)</c:v>
                  </c:pt>
                  <c:pt idx="2">
                    <c:v>Zilbrysq (myasthenia gravis)</c:v>
                  </c:pt>
                  <c:pt idx="3">
                    <c:v>Filspari (IgA nephropathy)</c:v>
                  </c:pt>
                  <c:pt idx="4">
                    <c:v>Iqirvo (primary biliary cholangitis)</c:v>
                  </c:pt>
                  <c:pt idx="5">
                    <c:v>Livdelzi (primary biliary cholangitis)</c:v>
                  </c:pt>
                  <c:pt idx="6">
                    <c:v>Vanrafia (IgA nephropathy)</c:v>
                  </c:pt>
                  <c:pt idx="7">
                    <c:v>Joenja (activated PI3Kδ syndrome)</c:v>
                  </c:pt>
                  <c:pt idx="8">
                    <c:v>Alyftrek (cystic fibrosis)</c:v>
                  </c:pt>
                  <c:pt idx="9">
                    <c:v>Ctexli (CTX)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B-7F16-4D2F-90EB-E632A06556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774958015"/>
        <c:axId val="1774964255"/>
      </c:scatterChart>
      <c:valAx>
        <c:axId val="1774958015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,\k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74964255"/>
        <c:crosses val="autoZero"/>
        <c:crossBetween val="midCat"/>
      </c:valAx>
      <c:valAx>
        <c:axId val="17749642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0,\k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74958015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7496921-C6A2-46AC-8A9A-A52ED7B9E65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16855B3-9413-4184-93F0-7C1CF686921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4D5D49-6A8C-4F3F-9A85-0F64A9CCB37D}" type="datetime1">
              <a:rPr lang="en-US" smtClean="0"/>
              <a:t>11/15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7B8A7ED-B24B-427E-ACE4-54DC8052005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CDC046A-5862-41F5-82F1-88DC995759A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AD1914-DC9B-46A8-81A3-B97E781EE6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152365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 txBox="1"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35" tIns="45718" rIns="91435" bIns="45718" anchor="t" anchorCtr="0" compatLnSpc="1"/>
          <a:lstStyle>
            <a:lvl1pPr marL="0" marR="0" lvl="0" indent="0" algn="l" defTabSz="91435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200" b="0" i="0" u="none" strike="noStrike" kern="1200" cap="none" spc="0" baseline="0">
                <a:solidFill>
                  <a:srgbClr val="000000"/>
                </a:solidFill>
                <a:uFillTx/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 txBox="1">
            <a:spLocks noGrp="1"/>
          </p:cNvSpPr>
          <p:nvPr>
            <p:ph type="dt" idx="1"/>
          </p:nvPr>
        </p:nvSpPr>
        <p:spPr>
          <a:xfrm>
            <a:off x="3884608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35" tIns="45718" rIns="91435" bIns="45718" anchor="t" anchorCtr="0" compatLnSpc="1"/>
          <a:lstStyle>
            <a:lvl1pPr marL="0" marR="0" lvl="0" indent="0" algn="r" defTabSz="91435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200" b="0" i="0" u="none" strike="noStrike" kern="1200" cap="none" spc="0" baseline="0">
                <a:solidFill>
                  <a:srgbClr val="000000"/>
                </a:solidFill>
                <a:uFillTx/>
                <a:latin typeface="Arial" panose="020B0604020202020204" pitchFamily="34" charset="0"/>
              </a:defRPr>
            </a:lvl1pPr>
          </a:lstStyle>
          <a:p>
            <a:fld id="{581A1D48-3FD4-41BF-8652-BACAB65D54D6}" type="datetime1">
              <a:rPr lang="en-US" smtClean="0"/>
              <a:t>11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1">
            <a:solidFill>
              <a:srgbClr val="000000"/>
            </a:solidFill>
            <a:prstDash val="solid"/>
          </a:ln>
        </p:spPr>
      </p:sp>
      <p:sp>
        <p:nvSpPr>
          <p:cNvPr id="5" name="Notes Placeholder 4"/>
          <p:cNvSpPr txBox="1"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35" tIns="45718" rIns="91435" bIns="45718" anchor="t" anchorCtr="0" compatLnSpc="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 txBox="1">
            <a:spLocks noGrp="1"/>
          </p:cNvSpPr>
          <p:nvPr>
            <p:ph type="ftr" sz="quarter" idx="4"/>
          </p:nvPr>
        </p:nvSpPr>
        <p:spPr>
          <a:xfrm>
            <a:off x="0" y="8685208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35" tIns="45718" rIns="91435" bIns="45718" anchor="b" anchorCtr="0" compatLnSpc="1"/>
          <a:lstStyle>
            <a:lvl1pPr marL="0" marR="0" lvl="0" indent="0" algn="l" defTabSz="91435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200" b="0" i="0" u="none" strike="noStrike" kern="1200" cap="none" spc="0" baseline="0">
                <a:solidFill>
                  <a:srgbClr val="000000"/>
                </a:solidFill>
                <a:uFillTx/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 txBox="1">
            <a:spLocks noGrp="1"/>
          </p:cNvSpPr>
          <p:nvPr>
            <p:ph type="sldNum" sz="quarter" idx="5"/>
          </p:nvPr>
        </p:nvSpPr>
        <p:spPr>
          <a:xfrm>
            <a:off x="3884608" y="8685208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35" tIns="45718" rIns="91435" bIns="45718" anchor="b" anchorCtr="0" compatLnSpc="1"/>
          <a:lstStyle>
            <a:lvl1pPr marL="0" marR="0" lvl="0" indent="0" algn="r" defTabSz="91435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200" b="0" i="0" u="none" strike="noStrike" kern="1200" cap="none" spc="0" baseline="0">
                <a:solidFill>
                  <a:srgbClr val="000000"/>
                </a:solidFill>
                <a:uFillTx/>
                <a:latin typeface="Arial" panose="020B0604020202020204" pitchFamily="34" charset="0"/>
              </a:defRPr>
            </a:lvl1pPr>
          </a:lstStyle>
          <a:p>
            <a:fld id="{A6A8EA8F-9525-4551-AD9E-119EF638E4A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966137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marR="0" lvl="0" indent="0" algn="l" defTabSz="1218987" rtl="0" fontAlgn="auto" hangingPunct="1">
      <a:lnSpc>
        <a:spcPct val="100000"/>
      </a:lnSpc>
      <a:spcBef>
        <a:spcPts val="0"/>
      </a:spcBef>
      <a:spcAft>
        <a:spcPts val="0"/>
      </a:spcAft>
      <a:buNone/>
      <a:tabLst/>
      <a:defRPr lang="en-US" sz="1600" b="0" i="0" u="none" strike="noStrike" kern="1200" cap="none" spc="0" baseline="0">
        <a:solidFill>
          <a:srgbClr val="000000"/>
        </a:solidFill>
        <a:uFillTx/>
        <a:latin typeface="Arial" panose="020B0604020202020204" pitchFamily="34" charset="0"/>
      </a:defRPr>
    </a:lvl1pPr>
    <a:lvl2pPr marL="609493" marR="0" lvl="1" indent="0" algn="l" defTabSz="1218987" rtl="0" fontAlgn="auto" hangingPunct="1">
      <a:lnSpc>
        <a:spcPct val="100000"/>
      </a:lnSpc>
      <a:spcBef>
        <a:spcPts val="0"/>
      </a:spcBef>
      <a:spcAft>
        <a:spcPts val="0"/>
      </a:spcAft>
      <a:buNone/>
      <a:tabLst/>
      <a:defRPr lang="en-US" sz="1600" b="0" i="0" u="none" strike="noStrike" kern="1200" cap="none" spc="0" baseline="0">
        <a:solidFill>
          <a:srgbClr val="000000"/>
        </a:solidFill>
        <a:uFillTx/>
        <a:latin typeface="Arial" panose="020B0604020202020204" pitchFamily="34" charset="0"/>
      </a:defRPr>
    </a:lvl2pPr>
    <a:lvl3pPr marL="1218987" marR="0" lvl="2" indent="0" algn="l" defTabSz="1218987" rtl="0" fontAlgn="auto" hangingPunct="1">
      <a:lnSpc>
        <a:spcPct val="100000"/>
      </a:lnSpc>
      <a:spcBef>
        <a:spcPts val="0"/>
      </a:spcBef>
      <a:spcAft>
        <a:spcPts val="0"/>
      </a:spcAft>
      <a:buNone/>
      <a:tabLst/>
      <a:defRPr lang="en-US" sz="1600" b="0" i="0" u="none" strike="noStrike" kern="1200" cap="none" spc="0" baseline="0">
        <a:solidFill>
          <a:srgbClr val="000000"/>
        </a:solidFill>
        <a:uFillTx/>
        <a:latin typeface="Arial" panose="020B0604020202020204" pitchFamily="34" charset="0"/>
      </a:defRPr>
    </a:lvl3pPr>
    <a:lvl4pPr marL="1828480" marR="0" lvl="3" indent="0" algn="l" defTabSz="1218987" rtl="0" fontAlgn="auto" hangingPunct="1">
      <a:lnSpc>
        <a:spcPct val="100000"/>
      </a:lnSpc>
      <a:spcBef>
        <a:spcPts val="0"/>
      </a:spcBef>
      <a:spcAft>
        <a:spcPts val="0"/>
      </a:spcAft>
      <a:buNone/>
      <a:tabLst/>
      <a:defRPr lang="en-US" sz="1600" b="0" i="0" u="none" strike="noStrike" kern="1200" cap="none" spc="0" baseline="0">
        <a:solidFill>
          <a:srgbClr val="000000"/>
        </a:solidFill>
        <a:uFillTx/>
        <a:latin typeface="Arial" panose="020B0604020202020204" pitchFamily="34" charset="0"/>
      </a:defRPr>
    </a:lvl4pPr>
    <a:lvl5pPr marL="2437973" marR="0" lvl="4" indent="0" algn="l" defTabSz="1218987" rtl="0" fontAlgn="auto" hangingPunct="1">
      <a:lnSpc>
        <a:spcPct val="100000"/>
      </a:lnSpc>
      <a:spcBef>
        <a:spcPts val="0"/>
      </a:spcBef>
      <a:spcAft>
        <a:spcPts val="0"/>
      </a:spcAft>
      <a:buNone/>
      <a:tabLst/>
      <a:defRPr lang="en-US" sz="1600" b="0" i="0" u="none" strike="noStrike" kern="1200" cap="none" spc="0" baseline="0">
        <a:solidFill>
          <a:srgbClr val="000000"/>
        </a:solidFill>
        <a:uFillTx/>
        <a:latin typeface="Arial" panose="020B0604020202020204" pitchFamily="34" charset="0"/>
      </a:defRPr>
    </a:lvl5pPr>
    <a:lvl6pPr marL="304746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A8EA8F-9525-4551-AD9E-119EF638E4A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94515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A8EA8F-9525-4551-AD9E-119EF638E4AB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567462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A8EA8F-9525-4551-AD9E-119EF638E4AB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429717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A8EA8F-9525-4551-AD9E-119EF638E4AB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41421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A8EA8F-9525-4551-AD9E-119EF638E4AB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64134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A8EA8F-9525-4551-AD9E-119EF638E4A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26148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A8EA8F-9525-4551-AD9E-119EF638E4AB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79677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17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45E61D6-9BA7-449E-8D42-2137F6D7BE0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317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049282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C85033-7636-AFB3-98C0-78A03C2723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533F504-628C-3056-7177-EBAE3E1D92A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E038EC6-E7FE-C8BD-707E-0B68B1447BF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NAVLIN</a:t>
            </a:r>
          </a:p>
          <a:p>
            <a:r>
              <a:rPr lang="en-US" err="1"/>
              <a:t>Radicava</a:t>
            </a:r>
            <a:r>
              <a:rPr lang="en-US"/>
              <a:t> $1,139.48USD WAC (infusion 2vial 100mL 30mg) = 1 dose (60mg administered as an IV over 60min)</a:t>
            </a:r>
          </a:p>
          <a:p>
            <a:r>
              <a:rPr lang="en-US" err="1"/>
              <a:t>Radicava</a:t>
            </a:r>
            <a:r>
              <a:rPr lang="en-US"/>
              <a:t> ORS $12,634.18USD (1 bottle 50mL 1,050mg) = 10 doses (105mg (5mL) in the AM)</a:t>
            </a:r>
          </a:p>
          <a:p>
            <a:r>
              <a:rPr lang="en-US" err="1"/>
              <a:t>Radicava</a:t>
            </a:r>
            <a:r>
              <a:rPr lang="en-US"/>
              <a:t> ORS $17,687.85USD (1 bottle 70mL 1,470mg)</a:t>
            </a:r>
          </a:p>
          <a:p>
            <a:endParaRPr lang="en-US"/>
          </a:p>
          <a:p>
            <a:r>
              <a:rPr lang="en-US"/>
              <a:t>https://www.radicava.com/pdfs/radicava-prescribing-information.pdf</a:t>
            </a:r>
          </a:p>
          <a:p>
            <a:r>
              <a:rPr lang="en-US"/>
              <a:t>Daily dosing initial 14 days (14 days off)</a:t>
            </a:r>
          </a:p>
          <a:p>
            <a:r>
              <a:rPr lang="en-US"/>
              <a:t>Subsequent: 10/14 days on followed by 14 days off</a:t>
            </a:r>
          </a:p>
          <a:p>
            <a:r>
              <a:rPr lang="en-US"/>
              <a:t>In a 52 week period = 130 doses per yr (not including initial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EF34EA2-614C-2311-57EB-316053537AC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A8EA8F-9525-4551-AD9E-119EF638E4AB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272195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A8EA8F-9525-4551-AD9E-119EF638E4AB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732428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A8EA8F-9525-4551-AD9E-119EF638E4AB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33212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A8EA8F-9525-4551-AD9E-119EF638E4AB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23469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.png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png"/></Relationships>
</file>

<file path=ppt/slideLayouts/_rels/slideLayout20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.png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2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2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png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1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png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sv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3.png"/></Relationships>
</file>

<file path=ppt/slideLayouts/_rels/slideLayout30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png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3.xml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3.xml"/></Relationships>
</file>

<file path=ppt/slideLayouts/_rels/slideLayout3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3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2.png"/></Relationships>
</file>

<file path=ppt/slideLayouts/_rels/slideLayout3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5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5.png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3.png"/></Relationships>
</file>

<file path=ppt/slideLayouts/_rels/slideLayout9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Cover - 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E258BDC-E25E-EA4C-A840-892DD4044D2A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47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4863618A-F2A3-5D4D-92CD-345322830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36999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76611C0-F646-F24B-886D-1FD9929C17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1" y="5358825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24C4D6FE-7426-3C77-F2FF-8B33A2AFB83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1341144"/>
            <a:ext cx="6709834" cy="1148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6012014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1 Subhead +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E742DDA-5D37-CD4E-9476-2626AFEB55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1ECEC39D-53B2-4245-88F5-20EF326C59C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8E12FFD-47DC-6D4E-B635-5FD7641C547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80618"/>
            <a:ext cx="10972801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3629643"/>
      </p:ext>
    </p:extLst>
  </p:cSld>
  <p:clrMapOvr>
    <a:masterClrMapping/>
  </p:clrMapOvr>
  <p:transition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Picture + BIG Though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6BA68D9-6D70-225F-6EC7-DA3D74526C3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7096125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67DD49D-0F94-7CB9-476B-BEC50F2D6D29}"/>
              </a:ext>
            </a:extLst>
          </p:cNvPr>
          <p:cNvSpPr/>
          <p:nvPr userDrawn="1"/>
        </p:nvSpPr>
        <p:spPr>
          <a:xfrm>
            <a:off x="2963119" y="0"/>
            <a:ext cx="9228881" cy="6858000"/>
          </a:xfrm>
          <a:prstGeom prst="rect">
            <a:avLst/>
          </a:prstGeom>
          <a:gradFill flip="none" rotWithShape="1">
            <a:gsLst>
              <a:gs pos="99000">
                <a:schemeClr val="tx2">
                  <a:alpha val="0"/>
                </a:schemeClr>
              </a:gs>
              <a:gs pos="65000">
                <a:schemeClr val="tx2">
                  <a:lumMod val="5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54430F9-20D0-ACC3-4960-96320FD01C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5375" y="685800"/>
            <a:ext cx="6677027" cy="5486400"/>
          </a:xfrm>
          <a:solidFill>
            <a:srgbClr val="FFFFFF">
              <a:alpha val="63000"/>
            </a:srgbClr>
          </a:solidFill>
        </p:spPr>
        <p:txBody>
          <a:bodyPr rIns="182880" bIns="0" anchor="b"/>
          <a:lstStyle>
            <a:lvl1pPr algn="r">
              <a:defRPr sz="80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algn="r"/>
            <a:r>
              <a:rPr lang="en-US" sz="8500">
                <a:solidFill>
                  <a:schemeClr val="accent1"/>
                </a:solidFill>
                <a:latin typeface="Arial Black" panose="020B0604020202020204" pitchFamily="34" charset="0"/>
              </a:rPr>
              <a:t>Click to edit Master title style</a:t>
            </a:r>
            <a:endParaRPr lang="en-US" sz="8500">
              <a:solidFill>
                <a:schemeClr val="accent1"/>
              </a:solidFill>
              <a:latin typeface="Arial Black" panose="020B0604020202020204" pitchFamily="34" charset="0"/>
              <a:cs typeface="Arial Black" panose="020B0604020202020204" pitchFamily="34" charset="0"/>
            </a:endParaRPr>
          </a:p>
        </p:txBody>
      </p:sp>
      <p:pic>
        <p:nvPicPr>
          <p:cNvPr id="11" name="Picture 1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3B9739E4-0BA8-0AE8-A8C0-36238A05C1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E690C30-3898-378E-A66F-5A36F1BBD248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DE8D5A-ECF1-E703-6E0B-027467729A1D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886253059"/>
      </p:ext>
    </p:extLst>
  </p:cSld>
  <p:clrMapOvr>
    <a:masterClrMapping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9BDE959E-5D72-4F4E-A60E-2CFAD3E9E33F}"/>
              </a:ext>
            </a:extLst>
          </p:cNvPr>
          <p:cNvSpPr/>
          <p:nvPr userDrawn="1"/>
        </p:nvSpPr>
        <p:spPr>
          <a:xfrm>
            <a:off x="0" y="0"/>
            <a:ext cx="4749919" cy="6858000"/>
          </a:xfrm>
          <a:prstGeom prst="rect">
            <a:avLst/>
          </a:prstGeom>
          <a:gradFill flip="none" rotWithShape="1">
            <a:gsLst>
              <a:gs pos="6000">
                <a:schemeClr val="accent3"/>
              </a:gs>
              <a:gs pos="77000">
                <a:schemeClr val="accent1"/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190D422-050F-0C4D-AD83-90157444B514}"/>
              </a:ext>
            </a:extLst>
          </p:cNvPr>
          <p:cNvCxnSpPr>
            <a:cxnSpLocks/>
          </p:cNvCxnSpPr>
          <p:nvPr userDrawn="1"/>
        </p:nvCxnSpPr>
        <p:spPr>
          <a:xfrm flipH="1">
            <a:off x="5409514" y="2534072"/>
            <a:ext cx="5944278" cy="0"/>
          </a:xfrm>
          <a:prstGeom prst="line">
            <a:avLst/>
          </a:prstGeom>
          <a:ln w="63500">
            <a:gradFill>
              <a:gsLst>
                <a:gs pos="0">
                  <a:schemeClr val="tx2"/>
                </a:gs>
                <a:gs pos="99000">
                  <a:schemeClr val="accent3"/>
                </a:gs>
              </a:gsLst>
              <a:lin ang="10800000" scaled="0"/>
            </a:gra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7">
            <a:extLst>
              <a:ext uri="{FF2B5EF4-FFF2-40B4-BE49-F238E27FC236}">
                <a16:creationId xmlns:a16="http://schemas.microsoft.com/office/drawing/2014/main" id="{2EF8EBEF-A81A-6F44-9571-2E29A965A8B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10200" y="1447800"/>
            <a:ext cx="5943600" cy="709833"/>
          </a:xfrm>
        </p:spPr>
        <p:txBody>
          <a:bodyPr anchor="b">
            <a:noAutofit/>
          </a:bodyPr>
          <a:lstStyle>
            <a:lvl1pPr marL="0" indent="0" algn="l">
              <a:buNone/>
              <a:defRPr sz="3200" b="1" spc="133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ontact Us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36478137-00DE-D24D-A10D-BA9931D781A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10200" y="2919285"/>
            <a:ext cx="5943600" cy="529167"/>
          </a:xfr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accent2"/>
                </a:solidFill>
              </a:defRPr>
            </a:lvl2pPr>
            <a:lvl3pPr>
              <a:defRPr b="1">
                <a:solidFill>
                  <a:schemeClr val="accent2"/>
                </a:solidFill>
              </a:defRPr>
            </a:lvl3pPr>
            <a:lvl4pPr>
              <a:defRPr b="1">
                <a:solidFill>
                  <a:schemeClr val="accent2"/>
                </a:solidFill>
              </a:defRPr>
            </a:lvl4pPr>
            <a:lvl5pPr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C84259-0961-3F40-95D0-227C2A52653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409514" y="3448050"/>
            <a:ext cx="5944278" cy="1809750"/>
          </a:xfrm>
        </p:spPr>
        <p:txBody>
          <a:bodyPr/>
          <a:lstStyle>
            <a:lvl1pPr marL="0" indent="0">
              <a:spcBef>
                <a:spcPts val="800"/>
              </a:spcBef>
              <a:buNone/>
              <a:defRPr/>
            </a:lvl1pPr>
          </a:lstStyle>
          <a:p>
            <a:pPr lvl="0"/>
            <a:r>
              <a:rPr lang="en-US"/>
              <a:t>Title</a:t>
            </a:r>
          </a:p>
          <a:p>
            <a:pPr lvl="0"/>
            <a:r>
              <a:rPr lang="en-US"/>
              <a:t>Email</a:t>
            </a:r>
          </a:p>
          <a:p>
            <a:pPr lvl="0"/>
            <a:r>
              <a:rPr lang="en-US"/>
              <a:t>Phone Number</a:t>
            </a:r>
          </a:p>
          <a:p>
            <a:pPr lvl="0"/>
            <a:r>
              <a:rPr lang="en-US" err="1"/>
              <a:t>eversana.com</a:t>
            </a:r>
            <a:endParaRPr lang="en-US"/>
          </a:p>
        </p:txBody>
      </p:sp>
      <p:pic>
        <p:nvPicPr>
          <p:cNvPr id="5" name="Picture 4" descr="A picture containing text, clipart, vector graphics&#10;&#10;Description automatically generated">
            <a:extLst>
              <a:ext uri="{FF2B5EF4-FFF2-40B4-BE49-F238E27FC236}">
                <a16:creationId xmlns:a16="http://schemas.microsoft.com/office/drawing/2014/main" id="{1FBE6703-1F5A-4985-AFCC-4B146911B5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4236" y="2731513"/>
            <a:ext cx="3101447" cy="139497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6E14DF8-2B4D-5FBA-4A05-10B17249473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E2622FE-0312-7C16-8837-E29823A0F74C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880231864"/>
      </p:ext>
    </p:extLst>
  </p:cSld>
  <p:clrMapOvr>
    <a:masterClrMapping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">
    <p:bg>
      <p:bgPr>
        <a:gradFill>
          <a:gsLst>
            <a:gs pos="47000">
              <a:schemeClr val="accent1"/>
            </a:gs>
            <a:gs pos="100000">
              <a:schemeClr val="accent2"/>
            </a:gs>
          </a:gsLst>
          <a:lin ang="4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1ED4F88-DCB6-DDDC-8485-8BF26D736B4E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47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7" name="Picture 2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00594512-246E-4A47-AA41-6CF8E77306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A67BA25F-B066-3D4E-90D9-814BA5420D04}"/>
              </a:ext>
            </a:extLst>
          </p:cNvPr>
          <p:cNvSpPr/>
          <p:nvPr userDrawn="1"/>
        </p:nvSpPr>
        <p:spPr bwMode="gray">
          <a:xfrm>
            <a:off x="3083560" y="2971800"/>
            <a:ext cx="6024881" cy="5754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2698"/>
            <a:r>
              <a:rPr lang="en-US" sz="4800" spc="800">
                <a:solidFill>
                  <a:schemeClr val="bg1"/>
                </a:solidFill>
                <a:latin typeface="Arial"/>
              </a:rPr>
              <a:t>QUESTIONS?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64FDF19-57A0-0F11-B744-37E0013F6209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2654170-F1B9-54C7-C775-4C70A32493AD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51548503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</p:bld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gradFill>
          <a:gsLst>
            <a:gs pos="47000">
              <a:schemeClr val="accent1"/>
            </a:gs>
            <a:gs pos="100000">
              <a:schemeClr val="accent2"/>
            </a:gs>
          </a:gsLst>
          <a:lin ang="4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B041CFA-6369-68CE-507C-F71CB6D3B007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47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9023174-00C2-E247-8A0D-41254F6772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0B22C79E-4F65-364E-8900-37282F93DB01}"/>
              </a:ext>
            </a:extLst>
          </p:cNvPr>
          <p:cNvSpPr/>
          <p:nvPr userDrawn="1"/>
        </p:nvSpPr>
        <p:spPr bwMode="gray">
          <a:xfrm>
            <a:off x="0" y="2971800"/>
            <a:ext cx="12192000" cy="5754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2698"/>
            <a:r>
              <a:rPr lang="en-US" sz="4800" spc="800">
                <a:solidFill>
                  <a:schemeClr val="bg1"/>
                </a:solidFill>
                <a:latin typeface="Arial"/>
              </a:rPr>
              <a:t>THANK YOU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4007647-2660-268F-40A6-09992F91AFDE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C691D91-A15B-D010-611A-023E2241689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10111356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Title + 1 Subhead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E742DDA-5D37-CD4E-9476-2626AFEB55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1ECEC39D-53B2-4245-88F5-20EF326C59C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8E12FFD-47DC-6D4E-B635-5FD7641C547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80618"/>
            <a:ext cx="10972801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4495803"/>
      </p:ext>
    </p:extLst>
  </p:cSld>
  <p:clrMapOvr>
    <a:masterClrMapping/>
  </p:clrMapOvr>
  <p:transition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Title + 1 Subhead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EA111C91-5070-BE46-8A91-DA793065A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8C25884-10FE-2441-8B12-F88C370D627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10972801" cy="4918364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>
              <a:defRPr sz="1600">
                <a:solidFill>
                  <a:schemeClr val="tx1"/>
                </a:solidFill>
              </a:defRPr>
            </a:lvl1pPr>
            <a:lvl2pPr marL="457200" indent="-182880">
              <a:spcBef>
                <a:spcPts val="1200"/>
              </a:spcBef>
              <a:defRPr sz="1400">
                <a:solidFill>
                  <a:schemeClr val="tx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tx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tx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10F5692F-18B9-AC42-9F9C-2EE1F589180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3423979"/>
      </p:ext>
    </p:extLst>
  </p:cSld>
  <p:clrMapOvr>
    <a:masterClrMapping/>
  </p:clrMapOvr>
  <p:transition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Title + 2 Subhead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ADCFE1C-724C-2E42-BC21-E191CF74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4EFD65-FBA7-D248-A060-6EA62D2FD61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867654"/>
            <a:ext cx="10972801" cy="438074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AB232D6-8A78-9443-B31B-EA7B3FD22D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143693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01736986"/>
      </p:ext>
    </p:extLst>
  </p:cSld>
  <p:clrMapOvr>
    <a:masterClrMapping/>
  </p:clrMapOvr>
  <p:transition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+text r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2"/>
          <p:cNvSpPr/>
          <p:nvPr userDrawn="1"/>
        </p:nvSpPr>
        <p:spPr bwMode="gray">
          <a:xfrm>
            <a:off x="7839074" y="0"/>
            <a:ext cx="4352926" cy="6248398"/>
          </a:xfrm>
          <a:custGeom>
            <a:avLst/>
            <a:gdLst/>
            <a:ahLst/>
            <a:cxnLst/>
            <a:rect l="l" t="t" r="r" b="b"/>
            <a:pathLst>
              <a:path w="5803900" h="8013700">
                <a:moveTo>
                  <a:pt x="0" y="8013700"/>
                </a:moveTo>
                <a:lnTo>
                  <a:pt x="5803900" y="8013700"/>
                </a:lnTo>
                <a:lnTo>
                  <a:pt x="5803900" y="0"/>
                </a:lnTo>
                <a:lnTo>
                  <a:pt x="0" y="0"/>
                </a:lnTo>
                <a:lnTo>
                  <a:pt x="0" y="80137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320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986EAB7-810C-0B48-A973-47C084FF5DF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55740" y="535063"/>
            <a:ext cx="6705600" cy="518158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24257CA-7651-614F-8E2B-E46EDDB73892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1" y="6248400"/>
            <a:ext cx="12204165" cy="0"/>
          </a:xfrm>
          <a:prstGeom prst="line">
            <a:avLst/>
          </a:prstGeom>
          <a:ln w="508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 descr="logo.png">
            <a:extLst>
              <a:ext uri="{FF2B5EF4-FFF2-40B4-BE49-F238E27FC236}">
                <a16:creationId xmlns:a16="http://schemas.microsoft.com/office/drawing/2014/main" id="{3E7C1672-B60B-7041-8EF9-58A99DF238B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71"/>
          <a:stretch/>
        </p:blipFill>
        <p:spPr>
          <a:xfrm>
            <a:off x="9072920" y="2468880"/>
            <a:ext cx="3119081" cy="380501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8290561" y="1297056"/>
            <a:ext cx="3291840" cy="3657600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56309311"/>
      </p:ext>
    </p:extLst>
  </p:cSld>
  <p:clrMapOvr>
    <a:masterClrMapping/>
  </p:clrMapOvr>
  <p:transition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Title + 1 Subhead +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E742DDA-5D37-CD4E-9476-2626AFEB55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1ECEC39D-53B2-4245-88F5-20EF326C59C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E065807C-2DF4-41B9-8DBF-F34ADB4F04B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" y="5943600"/>
            <a:ext cx="10972800" cy="304800"/>
          </a:xfrm>
        </p:spPr>
        <p:txBody>
          <a:bodyPr anchor="b"/>
          <a:lstStyle>
            <a:lvl1pPr algn="r">
              <a:spcBef>
                <a:spcPts val="0"/>
              </a:spcBef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9430461"/>
      </p:ext>
    </p:extLst>
  </p:cSld>
  <p:clrMapOvr>
    <a:masterClrMapping/>
  </p:clrMapOvr>
  <p:transition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65BD40-3F7B-AB31-B26B-339363E629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26D9D-5DBB-460A-80E4-2F3EDA8F53A3}" type="datetimeFigureOut">
              <a:rPr lang="en-US" smtClean="0"/>
              <a:t>11/15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655349-1658-3C31-66FC-CACDB295CA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9D7F05-7855-ED78-846F-5CAA4C9C74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2CE090-FF13-4015-8E50-B47C593799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83789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2 Subheads +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ADCFE1C-724C-2E42-BC21-E191CF74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4EFD65-FBA7-D248-A060-6EA62D2FD61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867654"/>
            <a:ext cx="10972801" cy="438074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AB232D6-8A78-9443-B31B-EA7B3FD22D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143693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05976228"/>
      </p:ext>
    </p:extLst>
  </p:cSld>
  <p:clrMapOvr>
    <a:masterClrMapping/>
  </p:clrMapOvr>
  <p:transition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Cover - 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E258BDC-E25E-EA4C-A840-892DD4044D2A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47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4863618A-F2A3-5D4D-92CD-345322830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36999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76611C0-F646-F24B-886D-1FD9929C17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1" y="5358825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24C4D6FE-7426-3C77-F2FF-8B33A2AFB83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1341144"/>
            <a:ext cx="6709834" cy="1148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8730528"/>
      </p:ext>
    </p:extLst>
  </p:cSld>
  <p:clrMapOvr>
    <a:masterClrMapping/>
  </p:clrMapOvr>
  <p:transition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Cover -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E258BDC-E25E-EA4C-A840-892DD4044D2A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34000">
                <a:schemeClr val="accent1"/>
              </a:gs>
              <a:gs pos="100000">
                <a:schemeClr val="accent3"/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4863618A-F2A3-5D4D-92CD-345322830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36999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76611C0-F646-F24B-886D-1FD9929C17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1" y="5358825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Picture 3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AF51551E-56E7-171E-97F0-9BB7224EAD6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1341144"/>
            <a:ext cx="6709834" cy="1148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7255622"/>
      </p:ext>
    </p:extLst>
  </p:cSld>
  <p:clrMapOvr>
    <a:masterClrMapping/>
  </p:clrMapOvr>
  <p:transition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+ Client Cover - 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788272C-F416-AB05-9E56-3837AF264644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47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5269655" y="1778797"/>
            <a:ext cx="1" cy="46995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ACF30A2-7E5B-4506-9CE1-606645C8EA6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420170" y="1116709"/>
            <a:ext cx="3998384" cy="16086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client logo</a:t>
            </a: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AA3DA5AD-B273-674D-A025-EFD62CF74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36999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F9A9321-5F6E-794B-A1FA-CFC44158EC2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1" y="5358825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 descr="Text, logo&#10;&#10;Description automatically generated">
            <a:extLst>
              <a:ext uri="{FF2B5EF4-FFF2-40B4-BE49-F238E27FC236}">
                <a16:creationId xmlns:a16="http://schemas.microsoft.com/office/drawing/2014/main" id="{B14DB16A-B76A-41D4-8E92-479134319E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0939" y="1630081"/>
            <a:ext cx="4482540" cy="767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915119"/>
      </p:ext>
    </p:extLst>
  </p:cSld>
  <p:clrMapOvr>
    <a:masterClrMapping/>
  </p:clrMapOvr>
  <p:transition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+ Client Cover -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F4027B-499F-5D35-5C27-C6E6348CAA94}"/>
              </a:ext>
            </a:extLst>
          </p:cNvPr>
          <p:cNvSpPr/>
          <p:nvPr userDrawn="1"/>
        </p:nvSpPr>
        <p:spPr>
          <a:xfrm rot="16200000" flipH="1">
            <a:off x="4733313" y="-600687"/>
            <a:ext cx="2725376" cy="12192001"/>
          </a:xfrm>
          <a:prstGeom prst="rect">
            <a:avLst/>
          </a:prstGeom>
          <a:gradFill>
            <a:gsLst>
              <a:gs pos="34000">
                <a:schemeClr val="accent1"/>
              </a:gs>
              <a:gs pos="100000">
                <a:schemeClr val="accent3"/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5269655" y="1778797"/>
            <a:ext cx="1" cy="469951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ACF30A2-7E5B-4506-9CE1-606645C8EA6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420170" y="1116709"/>
            <a:ext cx="3998384" cy="16086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client logo</a:t>
            </a: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AA3DA5AD-B273-674D-A025-EFD62CF74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939" y="4343370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F9A9321-5F6E-794B-A1FA-CFC44158EC2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0940" y="5765196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 descr="Text, logo&#10;&#10;Description automatically generated">
            <a:extLst>
              <a:ext uri="{FF2B5EF4-FFF2-40B4-BE49-F238E27FC236}">
                <a16:creationId xmlns:a16="http://schemas.microsoft.com/office/drawing/2014/main" id="{B14DB16A-B76A-41D4-8E92-479134319E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0939" y="1630081"/>
            <a:ext cx="4482540" cy="767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4723242"/>
      </p:ext>
    </p:extLst>
  </p:cSld>
  <p:clrMapOvr>
    <a:masterClrMapping/>
  </p:clrMapOvr>
  <p:transition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9BDE959E-5D72-4F4E-A60E-2CFAD3E9E33F}"/>
              </a:ext>
            </a:extLst>
          </p:cNvPr>
          <p:cNvSpPr/>
          <p:nvPr userDrawn="1"/>
        </p:nvSpPr>
        <p:spPr>
          <a:xfrm>
            <a:off x="7442083" y="0"/>
            <a:ext cx="4749917" cy="6858000"/>
          </a:xfrm>
          <a:prstGeom prst="rect">
            <a:avLst/>
          </a:prstGeom>
          <a:gradFill flip="none" rotWithShape="1">
            <a:gsLst>
              <a:gs pos="6000">
                <a:schemeClr val="accent3"/>
              </a:gs>
              <a:gs pos="77000">
                <a:schemeClr val="accent1"/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Picture 31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A475898-BA78-C149-A94E-7C59E87EFF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3" name="Title 1">
            <a:extLst>
              <a:ext uri="{FF2B5EF4-FFF2-40B4-BE49-F238E27FC236}">
                <a16:creationId xmlns:a16="http://schemas.microsoft.com/office/drawing/2014/main" id="{0F49ED40-5755-8C4F-B416-901D3473B8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6203655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03E2F96D-8A61-6D45-8DF6-B2486BDC3A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793111"/>
            <a:ext cx="6203655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2F5237E-9D93-9BD4-E80E-D8914AE7DBE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6203655" cy="4918364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>
              <a:buFont typeface="+mj-lt"/>
              <a:buAutoNum type="arabicPeriod"/>
              <a:defRPr sz="1600">
                <a:solidFill>
                  <a:schemeClr val="tx1"/>
                </a:solidFill>
              </a:defRPr>
            </a:lvl1pPr>
            <a:lvl2pPr marL="617220" indent="-182880">
              <a:spcBef>
                <a:spcPts val="12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822960" indent="-164592">
              <a:spcBef>
                <a:spcPts val="10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188720" indent="-182880">
              <a:spcBef>
                <a:spcPts val="800"/>
              </a:spcBef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1325880" indent="-228600">
              <a:spcBef>
                <a:spcPts val="600"/>
              </a:spcBef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3" name="Picture 2" descr="A picture containing text, clipart, vector graphics&#10;&#10;Description automatically generated">
            <a:extLst>
              <a:ext uri="{FF2B5EF4-FFF2-40B4-BE49-F238E27FC236}">
                <a16:creationId xmlns:a16="http://schemas.microsoft.com/office/drawing/2014/main" id="{1EDB5DD6-7EEC-4352-A329-2F38675262D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5800" y="2751981"/>
            <a:ext cx="3010434" cy="1354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4480211"/>
      </p:ext>
    </p:extLst>
  </p:cSld>
  <p:clrMapOvr>
    <a:masterClrMapping/>
  </p:clrMapOvr>
  <p:transition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tende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F70C46A5-3A79-284C-8BE0-0721A0BDF9D9}"/>
              </a:ext>
            </a:extLst>
          </p:cNvPr>
          <p:cNvSpPr txBox="1">
            <a:spLocks/>
          </p:cNvSpPr>
          <p:nvPr userDrawn="1"/>
        </p:nvSpPr>
        <p:spPr>
          <a:xfrm>
            <a:off x="609600" y="358909"/>
            <a:ext cx="10972801" cy="40309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0" rIns="0" bIns="0" anchor="t" anchorCtr="0" compatLnSpc="1">
            <a:noAutofit/>
          </a:bodyPr>
          <a:lstStyle>
            <a:lvl1pPr marL="0" marR="0" lvl="0" indent="0" algn="l" defTabSz="1219261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2400" b="1" i="0" u="none" strike="noStrike" kern="1200" cap="none" spc="0" baseline="0">
                <a:solidFill>
                  <a:schemeClr val="tx2"/>
                </a:solidFill>
                <a:uFillTx/>
                <a:latin typeface="+mj-lt"/>
              </a:defRPr>
            </a:lvl1pPr>
          </a:lstStyle>
          <a:p>
            <a:r>
              <a:rPr lang="en-US"/>
              <a:t>Meeting Attende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8D323C1-BCDE-2949-9437-A94EDAD92056}"/>
              </a:ext>
            </a:extLst>
          </p:cNvPr>
          <p:cNvSpPr/>
          <p:nvPr userDrawn="1"/>
        </p:nvSpPr>
        <p:spPr>
          <a:xfrm>
            <a:off x="1" y="1939636"/>
            <a:ext cx="12191999" cy="4918364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FC12D2A2-A662-BB40-8075-EEE4122744C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1" y="2233743"/>
            <a:ext cx="5105399" cy="38622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274320" indent="0">
              <a:spcBef>
                <a:spcPts val="1200"/>
              </a:spcBef>
              <a:buNone/>
              <a:defRPr sz="1400">
                <a:solidFill>
                  <a:schemeClr val="tx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tx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tx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ent’s Attendees Her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C538861E-9480-A947-A1AB-95AF17350D5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7000" y="2233743"/>
            <a:ext cx="5105399" cy="38622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274320" indent="0">
              <a:spcBef>
                <a:spcPts val="1200"/>
              </a:spcBef>
              <a:buNone/>
              <a:defRPr sz="1400">
                <a:solidFill>
                  <a:schemeClr val="tx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tx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tx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VERSANA’s Attendees Here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4A37F3D2-9C1A-754C-967A-68CB0AA226D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15413" y="1209019"/>
            <a:ext cx="4008354" cy="5777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client logo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FEC6CA7-DEDF-3249-8382-F7A86EF63E3D}"/>
              </a:ext>
            </a:extLst>
          </p:cNvPr>
          <p:cNvCxnSpPr>
            <a:cxnSpLocks/>
          </p:cNvCxnSpPr>
          <p:nvPr userDrawn="1"/>
        </p:nvCxnSpPr>
        <p:spPr>
          <a:xfrm>
            <a:off x="6096000" y="2233743"/>
            <a:ext cx="0" cy="3938457"/>
          </a:xfrm>
          <a:prstGeom prst="line">
            <a:avLst/>
          </a:prstGeom>
          <a:ln w="9525" cap="rnd">
            <a:solidFill>
              <a:schemeClr val="bg2"/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Picture 14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59A645CA-F94C-614F-8A2B-85D3056096E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pic>
        <p:nvPicPr>
          <p:cNvPr id="3" name="Picture 2" descr="Text, logo&#10;&#10;Description automatically generated">
            <a:extLst>
              <a:ext uri="{FF2B5EF4-FFF2-40B4-BE49-F238E27FC236}">
                <a16:creationId xmlns:a16="http://schemas.microsoft.com/office/drawing/2014/main" id="{3E45315F-7F09-42BA-815C-792889CDAD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00" y="1213590"/>
            <a:ext cx="3347873" cy="573134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FB073251-2B88-77F1-EBAF-7AD53FCE109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F186BEF-106D-F388-D398-6F0C8037EFBE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957389796"/>
      </p:ext>
    </p:extLst>
  </p:cSld>
  <p:clrMapOvr>
    <a:masterClrMapping/>
  </p:clrMapOvr>
  <p:transition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Attendee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F70C46A5-3A79-284C-8BE0-0721A0BDF9D9}"/>
              </a:ext>
            </a:extLst>
          </p:cNvPr>
          <p:cNvSpPr txBox="1">
            <a:spLocks/>
          </p:cNvSpPr>
          <p:nvPr userDrawn="1"/>
        </p:nvSpPr>
        <p:spPr>
          <a:xfrm>
            <a:off x="609600" y="358909"/>
            <a:ext cx="10972801" cy="40309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0" rIns="0" bIns="0" anchor="t" anchorCtr="0" compatLnSpc="1">
            <a:noAutofit/>
          </a:bodyPr>
          <a:lstStyle>
            <a:lvl1pPr marL="0" marR="0" lvl="0" indent="0" algn="l" defTabSz="1219261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2400" b="1" i="0" u="none" strike="noStrike" kern="1200" cap="none" spc="0" baseline="0">
                <a:solidFill>
                  <a:schemeClr val="tx2"/>
                </a:solidFill>
                <a:uFillTx/>
                <a:latin typeface="+mj-lt"/>
              </a:defRPr>
            </a:lvl1pPr>
          </a:lstStyle>
          <a:p>
            <a:r>
              <a:rPr lang="en-US"/>
              <a:t>Meet the EVERSANA team</a:t>
            </a:r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C341B25B-8D85-FBFF-2711-91D6FFD68E0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570848" y="1317413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5B2E2B80-78F2-8F69-9714-CB2EC7D565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3148" y="2612813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79E6359A-1459-6110-9BC0-205BF7EE90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3148" y="2998893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88948C7A-7958-BECC-EEC9-F1C2FE5B38D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176324" y="1317413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F3546E17-6339-06A9-A7DB-3A2355F8952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28624" y="2612813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B7861FAE-FC81-C082-227E-DE1495ACBA1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28624" y="2998893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18579FCC-5849-F2BD-BC0B-BD28EC7D471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781800" y="1317413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Text Placeholder 13">
            <a:extLst>
              <a:ext uri="{FF2B5EF4-FFF2-40B4-BE49-F238E27FC236}">
                <a16:creationId xmlns:a16="http://schemas.microsoft.com/office/drawing/2014/main" id="{08040961-D58B-AD49-A302-918B2D5C6E7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34100" y="2612813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9857015D-201A-C611-AE01-558C028BCA5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34100" y="2998893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1C1F83B-6CE6-E03C-48E0-9B42A2E70EC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387275" y="1317413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2D589C13-8931-DA1C-6C09-E898FE3C255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739575" y="2612813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25" name="Text Placeholder 13">
            <a:extLst>
              <a:ext uri="{FF2B5EF4-FFF2-40B4-BE49-F238E27FC236}">
                <a16:creationId xmlns:a16="http://schemas.microsoft.com/office/drawing/2014/main" id="{568D76B1-7A2A-72DF-C604-CBC14CA7867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739575" y="2998893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58E41E5B-C145-1148-ADBE-A1517AEFF14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570848" y="3733800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7" name="Text Placeholder 13">
            <a:extLst>
              <a:ext uri="{FF2B5EF4-FFF2-40B4-BE49-F238E27FC236}">
                <a16:creationId xmlns:a16="http://schemas.microsoft.com/office/drawing/2014/main" id="{6E177F37-262E-1B1A-729A-E1F35026204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3148" y="5029200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28" name="Text Placeholder 13">
            <a:extLst>
              <a:ext uri="{FF2B5EF4-FFF2-40B4-BE49-F238E27FC236}">
                <a16:creationId xmlns:a16="http://schemas.microsoft.com/office/drawing/2014/main" id="{1B840E57-015F-8EA4-9100-DC37EB74F18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23148" y="5415280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9" name="Picture Placeholder 6">
            <a:extLst>
              <a:ext uri="{FF2B5EF4-FFF2-40B4-BE49-F238E27FC236}">
                <a16:creationId xmlns:a16="http://schemas.microsoft.com/office/drawing/2014/main" id="{987863DE-DBB2-0F7D-7A67-609CE13721D7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176324" y="3733800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0" name="Text Placeholder 13">
            <a:extLst>
              <a:ext uri="{FF2B5EF4-FFF2-40B4-BE49-F238E27FC236}">
                <a16:creationId xmlns:a16="http://schemas.microsoft.com/office/drawing/2014/main" id="{20F93A3D-E31C-02FD-8FDA-B3640B93E0F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528624" y="5029200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31" name="Text Placeholder 13">
            <a:extLst>
              <a:ext uri="{FF2B5EF4-FFF2-40B4-BE49-F238E27FC236}">
                <a16:creationId xmlns:a16="http://schemas.microsoft.com/office/drawing/2014/main" id="{04A8C5AE-8B23-0E34-0D8A-D7E80EF9605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28624" y="5415280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2" name="Picture Placeholder 6">
            <a:extLst>
              <a:ext uri="{FF2B5EF4-FFF2-40B4-BE49-F238E27FC236}">
                <a16:creationId xmlns:a16="http://schemas.microsoft.com/office/drawing/2014/main" id="{2966E0EE-61B5-21A2-FE15-D0967C9A3D94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781800" y="3733800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3" name="Text Placeholder 13">
            <a:extLst>
              <a:ext uri="{FF2B5EF4-FFF2-40B4-BE49-F238E27FC236}">
                <a16:creationId xmlns:a16="http://schemas.microsoft.com/office/drawing/2014/main" id="{D0D2FDD1-A643-4412-79DA-6CAF10FCA51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34100" y="5029200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34" name="Text Placeholder 13">
            <a:extLst>
              <a:ext uri="{FF2B5EF4-FFF2-40B4-BE49-F238E27FC236}">
                <a16:creationId xmlns:a16="http://schemas.microsoft.com/office/drawing/2014/main" id="{BD828871-3B60-39AB-AE64-6E871003D17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34100" y="5415280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C044CB42-E1E9-241E-AA37-73C8EB4D13F1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9387275" y="3733800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6" name="Text Placeholder 13">
            <a:extLst>
              <a:ext uri="{FF2B5EF4-FFF2-40B4-BE49-F238E27FC236}">
                <a16:creationId xmlns:a16="http://schemas.microsoft.com/office/drawing/2014/main" id="{E79D4777-F3AA-74AF-81C9-7EA92FCB376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739575" y="5029200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37" name="Text Placeholder 13">
            <a:extLst>
              <a:ext uri="{FF2B5EF4-FFF2-40B4-BE49-F238E27FC236}">
                <a16:creationId xmlns:a16="http://schemas.microsoft.com/office/drawing/2014/main" id="{88A5F17C-BEBB-412A-3B04-9B8DC1F0A42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739575" y="5415280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999677017"/>
      </p:ext>
    </p:extLst>
  </p:cSld>
  <p:clrMapOvr>
    <a:masterClrMapping/>
  </p:clrMapOvr>
  <p:transition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head +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EA111C91-5070-BE46-8A91-DA793065A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8C25884-10FE-2441-8B12-F88C370D627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10972801" cy="4918364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>
              <a:defRPr sz="1600">
                <a:solidFill>
                  <a:schemeClr val="tx1"/>
                </a:solidFill>
              </a:defRPr>
            </a:lvl1pPr>
            <a:lvl2pPr marL="457200" indent="-182880">
              <a:spcBef>
                <a:spcPts val="1200"/>
              </a:spcBef>
              <a:defRPr sz="1400">
                <a:solidFill>
                  <a:schemeClr val="tx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tx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tx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10F5692F-18B9-AC42-9F9C-2EE1F589180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8902458"/>
      </p:ext>
    </p:extLst>
  </p:cSld>
  <p:clrMapOvr>
    <a:masterClrMapping/>
  </p:clrMapOvr>
  <p:transition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2 Subheads +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480D407-E604-3A43-8481-C3DB43C32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27970DF-10CC-3741-9635-618FEBE42D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66655478-E77A-D440-9C5A-2FA5665FD4D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517072"/>
            <a:ext cx="10972801" cy="473132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87280348"/>
      </p:ext>
    </p:extLst>
  </p:cSld>
  <p:clrMapOvr>
    <a:masterClrMapping/>
  </p:clrMapOvr>
  <p:transition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1 Subhead +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E742DDA-5D37-CD4E-9476-2626AFEB55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1ECEC39D-53B2-4245-88F5-20EF326C59C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8E12FFD-47DC-6D4E-B635-5FD7641C547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80618"/>
            <a:ext cx="10972801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48600897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head +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998C5B4B-9F76-954C-89FC-0B8684B55E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C7A408EC-F807-C043-A89C-5DAA288BA3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4F1A922C-39AD-D146-9A8E-1E8003F6E50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330036"/>
            <a:ext cx="532553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7D5F51E-2E9D-A84B-8F7E-C5AC24168FF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1330036"/>
            <a:ext cx="532553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35300451"/>
      </p:ext>
    </p:extLst>
  </p:cSld>
  <p:clrMapOvr>
    <a:masterClrMapping/>
  </p:clrMapOvr>
  <p:transition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2 Subheads +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ADCFE1C-724C-2E42-BC21-E191CF74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4EFD65-FBA7-D248-A060-6EA62D2FD61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867654"/>
            <a:ext cx="10972801" cy="438074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AB232D6-8A78-9443-B31B-EA7B3FD22D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143693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3227635"/>
      </p:ext>
    </p:extLst>
  </p:cSld>
  <p:clrMapOvr>
    <a:masterClrMapping/>
  </p:clrMapOvr>
  <p:transition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head +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998C5B4B-9F76-954C-89FC-0B8684B55E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C7A408EC-F807-C043-A89C-5DAA288BA3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4F1A922C-39AD-D146-9A8E-1E8003F6E50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330036"/>
            <a:ext cx="532553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7D5F51E-2E9D-A84B-8F7E-C5AC24168FF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1330036"/>
            <a:ext cx="532553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53161628"/>
      </p:ext>
    </p:extLst>
  </p:cSld>
  <p:clrMapOvr>
    <a:masterClrMapping/>
  </p:clrMapOvr>
  <p:transition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2 Subheads +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480D407-E604-3A43-8481-C3DB43C32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27970DF-10CC-3741-9635-618FEBE42D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BBEBC014-A2DE-A701-DCF0-3B983D0CBEE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524000"/>
            <a:ext cx="532553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9DCD6D3-CB3D-1DE7-A760-E8B57EDF004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1524000"/>
            <a:ext cx="532553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80382531"/>
      </p:ext>
    </p:extLst>
  </p:cSld>
  <p:clrMapOvr>
    <a:masterClrMapping/>
  </p:clrMapOvr>
  <p:transition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1 Subhead +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0D507A1-E9A6-6547-BCD0-6B14770E62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E3C8539-2105-A14C-8AB9-412291086C7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362164AA-08E3-AA4C-98E3-E7F4EB9D76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680618"/>
            <a:ext cx="5325533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821B5C41-E579-BA49-AC96-D9A348941C9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1680618"/>
            <a:ext cx="5325533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45288664"/>
      </p:ext>
    </p:extLst>
  </p:cSld>
  <p:clrMapOvr>
    <a:masterClrMapping/>
  </p:clrMapOvr>
  <p:transition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2 Subheads +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ADCFE1C-724C-2E42-BC21-E191CF74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AB232D6-8A78-9443-B31B-EA7B3FD22D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143693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EA7698F4-4722-6480-4745-FF7E99432AA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867654"/>
            <a:ext cx="5321808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03EE18E-4562-4BAB-8D6A-E7809610968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1867654"/>
            <a:ext cx="5321808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87643367"/>
      </p:ext>
    </p:extLst>
  </p:cSld>
  <p:clrMapOvr>
    <a:masterClrMapping/>
  </p:clrMapOvr>
  <p:transition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head +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AF2D4E68-4F97-3945-BF53-128D9F73D0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F844099-0217-4245-AAC6-FFE1ECF6C9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C606B273-5E4F-184A-B3B0-35245A640A6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330036"/>
            <a:ext cx="351351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D98FBF71-FFEA-7347-8614-0BAD488B12C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9244" y="1330036"/>
            <a:ext cx="351351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FAB660B1-EE7D-1142-8C46-9D3A7234701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68888" y="1330036"/>
            <a:ext cx="351351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1324640"/>
      </p:ext>
    </p:extLst>
  </p:cSld>
  <p:clrMapOvr>
    <a:masterClrMapping/>
  </p:clrMapOvr>
  <p:transition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2 Subheads +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480D407-E604-3A43-8481-C3DB43C32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27970DF-10CC-3741-9635-618FEBE42D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F09033BB-ABAE-494B-7612-2BD4B5E0C1A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524000"/>
            <a:ext cx="351351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037BB706-4FA2-672F-5B74-75EF80BC6D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9244" y="1524000"/>
            <a:ext cx="351351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7F5315FB-3F54-7F5A-F77E-11F8019AED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68888" y="1524000"/>
            <a:ext cx="351351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61465640"/>
      </p:ext>
    </p:extLst>
  </p:cSld>
  <p:clrMapOvr>
    <a:masterClrMapping/>
  </p:clrMapOvr>
  <p:transition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1 Subhead +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B807742E-2C85-584C-8C68-0BF17E41D8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F170C7E-23EA-BE44-95EE-1949C941C8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5EED0C89-665A-F34E-8F1D-EA3C4BB974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676400"/>
            <a:ext cx="3513513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44BC7A2-D5D6-AC42-9C35-F57EF2D7ACA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9244" y="1676400"/>
            <a:ext cx="3513513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29CBD11F-9808-8143-8AD2-5FB7EDD8710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68888" y="1676400"/>
            <a:ext cx="3513513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22855506"/>
      </p:ext>
    </p:extLst>
  </p:cSld>
  <p:clrMapOvr>
    <a:masterClrMapping/>
  </p:clrMapOvr>
  <p:transition>
    <p:fade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2 Subheads +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ADCFE1C-724C-2E42-BC21-E191CF74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AB232D6-8A78-9443-B31B-EA7B3FD22D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143693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7B50E074-638B-DC34-67C8-784D82E6B01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" y="1867654"/>
            <a:ext cx="3511296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D147398C-653C-73A2-B6FE-8541935E7A1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9244" y="1867654"/>
            <a:ext cx="3511296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00868C98-A0A3-7C07-D909-0613FA69945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068888" y="1867654"/>
            <a:ext cx="3511296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39294216"/>
      </p:ext>
    </p:extLst>
  </p:cSld>
  <p:clrMapOvr>
    <a:masterClrMapping/>
  </p:clrMapOvr>
  <p:transition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head +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AF2D4E68-4F97-3945-BF53-128D9F73D0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F844099-0217-4245-AAC6-FFE1ECF6C9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C606B273-5E4F-184A-B3B0-35245A640A6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1330036"/>
            <a:ext cx="2560320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D98FBF71-FFEA-7347-8614-0BAD488B12C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1330036"/>
            <a:ext cx="2560320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FAB660B1-EE7D-1142-8C46-9D3A7234701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7921" y="1330036"/>
            <a:ext cx="2560320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C0F5AB4E-0207-5E5D-FA01-65DE47FDE9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22081" y="1330036"/>
            <a:ext cx="2560320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18281368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2 Subheads +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480D407-E604-3A43-8481-C3DB43C32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27970DF-10CC-3741-9635-618FEBE42D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BBEBC014-A2DE-A701-DCF0-3B983D0CBEE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524000"/>
            <a:ext cx="532553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9DCD6D3-CB3D-1DE7-A760-E8B57EDF004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1524000"/>
            <a:ext cx="532553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13922983"/>
      </p:ext>
    </p:extLst>
  </p:cSld>
  <p:clrMapOvr>
    <a:masterClrMapping/>
  </p:clrMapOvr>
  <p:transition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2 Subheads +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480D407-E604-3A43-8481-C3DB43C32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27970DF-10CC-3741-9635-618FEBE42D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0271880-925D-5E44-71A5-A0F83CFB8F7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1" y="1524000"/>
            <a:ext cx="2560320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00E9B845-55DD-FBCA-1F19-8002F1E39CD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1524000"/>
            <a:ext cx="2560320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2B435A20-C5EB-C529-2F6D-0EF04D8E94B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7921" y="1524000"/>
            <a:ext cx="2560320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3314A2DA-5DC4-6263-476C-2488B91EDBF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22081" y="1524000"/>
            <a:ext cx="2560320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32172362"/>
      </p:ext>
    </p:extLst>
  </p:cSld>
  <p:clrMapOvr>
    <a:masterClrMapping/>
  </p:clrMapOvr>
  <p:transition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1 Subhead +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B807742E-2C85-584C-8C68-0BF17E41D8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F170C7E-23EA-BE44-95EE-1949C941C8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50DE363A-FAB2-2C99-CE27-D969FB1CCE0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1" y="1676400"/>
            <a:ext cx="256032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274DF562-3092-ED7C-1CDE-E208789DE00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1676400"/>
            <a:ext cx="256032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F76A703-9561-03A0-A311-6582BCAD9B2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7921" y="1676400"/>
            <a:ext cx="256032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4EBA21F-D512-BDDB-B921-5B43FB6A8E6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22081" y="1676400"/>
            <a:ext cx="256032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7128441"/>
      </p:ext>
    </p:extLst>
  </p:cSld>
  <p:clrMapOvr>
    <a:masterClrMapping/>
  </p:clrMapOvr>
  <p:transition>
    <p:fade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2 Subheads +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ADCFE1C-724C-2E42-BC21-E191CF74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AB232D6-8A78-9443-B31B-EA7B3FD22D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143693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BC85517A-99C0-1BA3-0880-A397B760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1867654"/>
            <a:ext cx="2560320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67AD6A6F-6A93-4066-F271-E9EA4F570F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413761" y="1867654"/>
            <a:ext cx="2560320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ED57A890-09E3-D78C-C469-5EAF0485803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17921" y="1867654"/>
            <a:ext cx="2560320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5D405E1D-3FEF-2E9A-D8D7-17531A97C91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022081" y="1867654"/>
            <a:ext cx="2560320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63205067"/>
      </p:ext>
    </p:extLst>
  </p:cSld>
  <p:clrMapOvr>
    <a:masterClrMapping/>
  </p:clrMapOvr>
  <p:transition>
    <p:fade/>
  </p:transition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0" y="1295400"/>
            <a:ext cx="5185833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70916" y="1302808"/>
            <a:ext cx="5185833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56E5016-53D2-6044-A287-690339B6BE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2390827-CF38-6C46-A1C3-09BC7ACCD29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1" y="2133600"/>
            <a:ext cx="5167672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BA21A48-BA6B-C247-92A3-98B11DB895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386946" y="2133600"/>
            <a:ext cx="5199671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65882571"/>
      </p:ext>
    </p:extLst>
  </p:cSld>
  <p:clrMapOvr>
    <a:masterClrMapping/>
  </p:clrMapOvr>
  <p:transition>
    <p:fade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1" y="12954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51438" y="12954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56E5016-53D2-6044-A287-690339B6BE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2390827-CF38-6C46-A1C3-09BC7ACCD29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1" y="2133600"/>
            <a:ext cx="3458809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BA21A48-BA6B-C247-92A3-98B11DB895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45179" y="2133600"/>
            <a:ext cx="3480226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0D286B6E-F0ED-C181-EB6E-CAE3B25C35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11437" y="12954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C7EFFA10-A1F8-7FAF-6033-74B5E6B8EC5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02175" y="2133600"/>
            <a:ext cx="3480226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88829726"/>
      </p:ext>
    </p:extLst>
  </p:cSld>
  <p:clrMapOvr>
    <a:masterClrMapping/>
  </p:clrMapOvr>
  <p:transition>
    <p:fad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1" y="12954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413761" y="12954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56E5016-53D2-6044-A287-690339B6BE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0D286B6E-F0ED-C181-EB6E-CAE3B25C35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17921" y="12954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B454773C-5237-707C-2ECC-9562D3E238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2133600"/>
            <a:ext cx="2560320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7E4A861E-25C6-853A-D997-A484F11EE32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2133600"/>
            <a:ext cx="2560320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4574AF9B-1F20-45A1-D721-A6C1AA42C8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17921" y="2133600"/>
            <a:ext cx="2560320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B087AF7D-7916-1152-7183-48D455B2FDA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22082" y="2133600"/>
            <a:ext cx="2560320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D88856CB-8952-C891-1783-D6F3DC60CC8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22082" y="12954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4113235"/>
      </p:ext>
    </p:extLst>
  </p:cSld>
  <p:clrMapOvr>
    <a:masterClrMapping/>
  </p:clrMapOvr>
  <p:transition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mparison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1439" y="1066800"/>
            <a:ext cx="5185833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70916" y="1066800"/>
            <a:ext cx="5185833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2390827-CF38-6C46-A1C3-09BC7ACCD29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1" y="1905000"/>
            <a:ext cx="5167672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BA21A48-BA6B-C247-92A3-98B11DB895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386946" y="1905000"/>
            <a:ext cx="5199671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44087565"/>
      </p:ext>
    </p:extLst>
  </p:cSld>
  <p:clrMapOvr>
    <a:masterClrMapping/>
  </p:clrMapOvr>
  <p:transition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omparison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1440" y="10668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51438" y="10668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2390827-CF38-6C46-A1C3-09BC7ACCD29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1" y="1905000"/>
            <a:ext cx="3458809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BA21A48-BA6B-C247-92A3-98B11DB895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45179" y="1905000"/>
            <a:ext cx="3480226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0D286B6E-F0ED-C181-EB6E-CAE3B25C35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11437" y="10668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C7EFFA10-A1F8-7FAF-6033-74B5E6B8EC5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02175" y="1905000"/>
            <a:ext cx="3480226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7155077"/>
      </p:ext>
    </p:extLst>
  </p:cSld>
  <p:clrMapOvr>
    <a:masterClrMapping/>
  </p:clrMapOvr>
  <p:transition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Comparison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3BBC54F1-CEE7-F322-F234-98B55DBECC6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09601" y="10668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5CFCA830-6ACA-2308-1A1B-A7B660A713D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413761" y="10668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44F4CBB1-D6CF-C2E6-8BE4-60FD4D4CD9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17921" y="10668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3986C5C2-74FD-7C69-E621-58FDE74971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1905000"/>
            <a:ext cx="2560320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D1759EBB-330C-546E-7E80-96C72430CEB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1905000"/>
            <a:ext cx="2560320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D59D130-DC7B-1E61-0288-DE244774675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17921" y="1905000"/>
            <a:ext cx="2560320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AFD41E4-81DC-114B-66E1-18D4FCF693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22082" y="1905000"/>
            <a:ext cx="2560320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E7CF578-0237-5A47-94FB-47799206FE4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22082" y="10668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7736290"/>
      </p:ext>
    </p:extLst>
  </p:cSld>
  <p:clrMapOvr>
    <a:masterClrMapping/>
  </p:clrMapOvr>
  <p:transition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cons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829DBB59-536C-AD41-8966-3DEC3D15994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711113" y="1641475"/>
            <a:ext cx="1479550" cy="1479550"/>
          </a:xfrm>
          <a:prstGeom prst="ellipse">
            <a:avLst/>
          </a:prstGeom>
          <a:gradFill>
            <a:gsLst>
              <a:gs pos="8000">
                <a:schemeClr val="tx2"/>
              </a:gs>
              <a:gs pos="100000">
                <a:schemeClr val="accent3"/>
              </a:gs>
            </a:gsLst>
            <a:path path="circle">
              <a:fillToRect l="100000" t="100000"/>
            </a:path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8FBC8B9B-C6AC-7342-918F-C8BFE651B0A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5354138" y="1641475"/>
            <a:ext cx="1479550" cy="1479550"/>
          </a:xfrm>
          <a:prstGeom prst="ellipse">
            <a:avLst/>
          </a:prstGeom>
          <a:gradFill flip="none" rotWithShape="1">
            <a:gsLst>
              <a:gs pos="8000">
                <a:schemeClr val="tx2"/>
              </a:gs>
              <a:gs pos="100000">
                <a:schemeClr val="accent3"/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49661A0-0D31-DB46-A6BF-AF0B400BB3D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2003425" y="1641475"/>
            <a:ext cx="1479550" cy="1479550"/>
          </a:xfrm>
          <a:prstGeom prst="ellipse">
            <a:avLst/>
          </a:prstGeom>
          <a:gradFill>
            <a:gsLst>
              <a:gs pos="8000">
                <a:schemeClr val="tx2"/>
              </a:gs>
              <a:gs pos="100000">
                <a:schemeClr val="accent3"/>
              </a:gs>
            </a:gsLst>
            <a:path path="circle">
              <a:fillToRect l="100000" t="100000"/>
            </a:path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6662A63-9812-4216-B3CD-AF5EA9A59D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75201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A3B5F99-C322-4FA5-9845-E33F70AAC0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28000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4CFCBFC-A2CC-4BC6-8876-99FC2869D1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22400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D4B7AE-53A8-49D3-B515-48B51CA507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422400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D41FF3-FBE3-4278-9A28-B609FBF7A0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75201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A7AF931-B64A-4B5C-B20A-CD425D1F5F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28000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2623D44-8E8D-5F42-AEAD-98694EB779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2A2606BE-91C7-5A42-A12B-6AD91DD250E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90505497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1 Subhead +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0D507A1-E9A6-6547-BCD0-6B14770E62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E3C8539-2105-A14C-8AB9-412291086C7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362164AA-08E3-AA4C-98E3-E7F4EB9D76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680618"/>
            <a:ext cx="5325533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821B5C41-E579-BA49-AC96-D9A348941C9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1680618"/>
            <a:ext cx="5325533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76604149"/>
      </p:ext>
    </p:extLst>
  </p:cSld>
  <p:clrMapOvr>
    <a:masterClrMapping/>
  </p:clrMapOvr>
  <p:transition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cons -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1272D79-97CF-C6E2-579A-7F02654530E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829DBB59-536C-AD41-8966-3DEC3D15994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711113" y="1641475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8FBC8B9B-C6AC-7342-918F-C8BFE651B0A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5354138" y="1641475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49661A0-0D31-DB46-A6BF-AF0B400BB3D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2003425" y="1641475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6662A63-9812-4216-B3CD-AF5EA9A59D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75201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A3B5F99-C322-4FA5-9845-E33F70AAC0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28000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4CFCBFC-A2CC-4BC6-8876-99FC2869D1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22400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D4B7AE-53A8-49D3-B515-48B51CA507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422400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D41FF3-FBE3-4278-9A28-B609FBF7A0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75201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A7AF931-B64A-4B5C-B20A-CD425D1F5F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28000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2623D44-8E8D-5F42-AEAD-98694EB779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2A2606BE-91C7-5A42-A12B-6AD91DD250E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Picture 5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D8A6C9D8-8609-111E-6490-BEC47A256C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D7A943A-C0C8-A899-2327-9C6BEA0FF95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5A70755-217E-581B-95D9-C8B8EF2A834A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529205999"/>
      </p:ext>
    </p:extLst>
  </p:cSld>
  <p:clrMapOvr>
    <a:masterClrMapping/>
  </p:clrMapOvr>
  <p:transition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cons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94C423CD-F55C-AD48-84C5-9E5DE00D6A23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105165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09DF0BDD-42C8-764F-AE1A-C8633F89B744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3942310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FE83D91D-20BC-F048-A5F9-6BA6FD9E1C7C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6798244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Content Placeholder 4">
            <a:extLst>
              <a:ext uri="{FF2B5EF4-FFF2-40B4-BE49-F238E27FC236}">
                <a16:creationId xmlns:a16="http://schemas.microsoft.com/office/drawing/2014/main" id="{7A1D28A5-46EB-B64F-A151-512BCFEB1A6D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616600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6662A63-9812-4216-B3CD-AF5EA9A59D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63935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A3B5F99-C322-4FA5-9845-E33F70AAC0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5336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4CFCBFC-A2CC-4BC6-8876-99FC2869D1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2534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D4B7AE-53A8-49D3-B515-48B51CA507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2534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D41FF3-FBE3-4278-9A28-B609FBF7A0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63935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A7AF931-B64A-4B5C-B20A-CD425D1F5F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05336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2166374B-8CA1-4E4D-897F-9F57A99003F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123291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7DF32699-CF78-B142-B55A-592854F65E5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123291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EF993BF1-E47B-0543-82C5-D28232ADC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9EF67E38-439D-DA4E-8481-544978A4B9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9982768"/>
      </p:ext>
    </p:extLst>
  </p:cSld>
  <p:clrMapOvr>
    <a:masterClrMapping/>
  </p:clrMapOvr>
  <p:transition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cons -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800B71BF-6734-3D4E-8A36-B684BDA30A3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94C423CD-F55C-AD48-84C5-9E5DE00D6A23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105165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09DF0BDD-42C8-764F-AE1A-C8633F89B744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3942310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FE83D91D-20BC-F048-A5F9-6BA6FD9E1C7C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6798244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Content Placeholder 4">
            <a:extLst>
              <a:ext uri="{FF2B5EF4-FFF2-40B4-BE49-F238E27FC236}">
                <a16:creationId xmlns:a16="http://schemas.microsoft.com/office/drawing/2014/main" id="{7A1D28A5-46EB-B64F-A151-512BCFEB1A6D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616600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6662A63-9812-4216-B3CD-AF5EA9A59D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63935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A3B5F99-C322-4FA5-9845-E33F70AAC0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5336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4CFCBFC-A2CC-4BC6-8876-99FC2869D1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2534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D4B7AE-53A8-49D3-B515-48B51CA507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2534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D41FF3-FBE3-4278-9A28-B609FBF7A0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63935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A7AF931-B64A-4B5C-B20A-CD425D1F5F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05336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2166374B-8CA1-4E4D-897F-9F57A99003F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123291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7DF32699-CF78-B142-B55A-592854F65E5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123291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EF993BF1-E47B-0543-82C5-D28232ADC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9EF67E38-439D-DA4E-8481-544978A4B9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0" name="Picture 39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69C6C5C6-A24F-A641-BEE3-56E1EEB3CD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5FB799E-D03F-8B41-72BE-D49E9C42D52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CEAE0E7-60AE-0764-2405-CAC468DD194F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513500249"/>
      </p:ext>
    </p:extLst>
  </p:cSld>
  <p:clrMapOvr>
    <a:masterClrMapping/>
  </p:clrMapOvr>
  <p:transition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title + 4 Column/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197627A-F191-6F6C-173C-941E0358FEC4}"/>
              </a:ext>
            </a:extLst>
          </p:cNvPr>
          <p:cNvSpPr/>
          <p:nvPr userDrawn="1"/>
        </p:nvSpPr>
        <p:spPr>
          <a:xfrm>
            <a:off x="9006841" y="1828800"/>
            <a:ext cx="2590800" cy="4419600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5A42B69-D187-68D4-E85A-B04FCB18888A}"/>
              </a:ext>
            </a:extLst>
          </p:cNvPr>
          <p:cNvSpPr/>
          <p:nvPr userDrawn="1"/>
        </p:nvSpPr>
        <p:spPr>
          <a:xfrm>
            <a:off x="6202681" y="1828800"/>
            <a:ext cx="2590800" cy="4419600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447CED2-F5A3-41ED-632D-054B47881A0D}"/>
              </a:ext>
            </a:extLst>
          </p:cNvPr>
          <p:cNvSpPr/>
          <p:nvPr userDrawn="1"/>
        </p:nvSpPr>
        <p:spPr>
          <a:xfrm>
            <a:off x="3398521" y="1828800"/>
            <a:ext cx="2590800" cy="4419600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4FFBDFC-D7CF-1CC2-7B36-3CBD0E83CC62}"/>
              </a:ext>
            </a:extLst>
          </p:cNvPr>
          <p:cNvSpPr/>
          <p:nvPr userDrawn="1"/>
        </p:nvSpPr>
        <p:spPr>
          <a:xfrm>
            <a:off x="594361" y="1828800"/>
            <a:ext cx="2590800" cy="4419600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EF993BF1-E47B-0543-82C5-D28232ADC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9EF67E38-439D-DA4E-8481-544978A4B9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A321E26-D184-D4E3-67AB-B6753847E19B}"/>
              </a:ext>
            </a:extLst>
          </p:cNvPr>
          <p:cNvGrpSpPr/>
          <p:nvPr/>
        </p:nvGrpSpPr>
        <p:grpSpPr>
          <a:xfrm>
            <a:off x="1322070" y="1303018"/>
            <a:ext cx="1135382" cy="1135382"/>
            <a:chOff x="828675" y="2082036"/>
            <a:chExt cx="841926" cy="841926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27FEB60D-3784-8085-5727-DB1EEBE7F182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925F3-40E8-968E-B47F-A1B14A0A058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98418FB-2EE0-126B-ABEB-E6E30429A19A}"/>
              </a:ext>
            </a:extLst>
          </p:cNvPr>
          <p:cNvGrpSpPr/>
          <p:nvPr userDrawn="1"/>
        </p:nvGrpSpPr>
        <p:grpSpPr>
          <a:xfrm>
            <a:off x="4126230" y="1303018"/>
            <a:ext cx="1135382" cy="1135382"/>
            <a:chOff x="6315075" y="2057223"/>
            <a:chExt cx="841926" cy="841926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EB60922C-F5F8-2F15-FE80-7652089519A7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15075" y="2057223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40023594-A54B-AFD2-0842-75A61816C5D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388139" y="2130283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DA20CC7-A116-65F1-47B9-E1E1430919E4}"/>
              </a:ext>
            </a:extLst>
          </p:cNvPr>
          <p:cNvGrpSpPr/>
          <p:nvPr/>
        </p:nvGrpSpPr>
        <p:grpSpPr>
          <a:xfrm>
            <a:off x="6930390" y="1303018"/>
            <a:ext cx="1135382" cy="1135382"/>
            <a:chOff x="831786" y="4100558"/>
            <a:chExt cx="841926" cy="841926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49677590-F319-B777-B838-31609E997D6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31786" y="4100558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42C4B954-4D22-831B-4DEB-E60CC04AB8F4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4846" y="4173618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3E91250-B382-ACF0-AFCC-310F0B40A666}"/>
              </a:ext>
            </a:extLst>
          </p:cNvPr>
          <p:cNvGrpSpPr/>
          <p:nvPr/>
        </p:nvGrpSpPr>
        <p:grpSpPr>
          <a:xfrm>
            <a:off x="9734550" y="1303018"/>
            <a:ext cx="1135382" cy="1135382"/>
            <a:chOff x="6318185" y="4094407"/>
            <a:chExt cx="841926" cy="841926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C68A9DC0-30A1-BC3D-74D3-E54BCC0955EF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18185" y="4094407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94468285-47AB-0719-CBC6-9041693FDE03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91245" y="4167467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2D8DE35C-A6B8-3F5C-0057-216A7E3296B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7230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910E73D3-8C55-6C4A-314C-F5A7F0B7382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7230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34FFD1B7-2625-F2D4-CE35-823C6D75C37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50139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0580E85B-67DB-8F9C-F9E4-F9D9F0B2EE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50139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A8CB9092-DFAE-A574-889A-64141BA1060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30555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10">
            <a:extLst>
              <a:ext uri="{FF2B5EF4-FFF2-40B4-BE49-F238E27FC236}">
                <a16:creationId xmlns:a16="http://schemas.microsoft.com/office/drawing/2014/main" id="{21F9AFBC-DB7A-0B52-8451-6A2F28B42ED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30555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72878174-388C-D7D5-E040-C9B6FEA3F3A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10971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32503B2-0C63-687E-5215-2F535131C26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10971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95701689"/>
      </p:ext>
    </p:extLst>
  </p:cSld>
  <p:clrMapOvr>
    <a:masterClrMapping/>
  </p:clrMapOvr>
  <p:transition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Title + 1 Subtitle + 4 Column/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E57F3FD9-2178-611E-03F6-2D834346EDB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558933F-622D-A6C7-07AC-EB5CBF0659A1}"/>
              </a:ext>
            </a:extLst>
          </p:cNvPr>
          <p:cNvSpPr/>
          <p:nvPr userDrawn="1"/>
        </p:nvSpPr>
        <p:spPr>
          <a:xfrm>
            <a:off x="9006841" y="1828800"/>
            <a:ext cx="2590800" cy="4419600"/>
          </a:xfrm>
          <a:prstGeom prst="rect">
            <a:avLst/>
          </a:prstGeom>
          <a:solidFill>
            <a:schemeClr val="bg1">
              <a:alpha val="1918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87EF8DC-A8F2-6FD6-A4C9-098DE5256443}"/>
              </a:ext>
            </a:extLst>
          </p:cNvPr>
          <p:cNvSpPr/>
          <p:nvPr userDrawn="1"/>
        </p:nvSpPr>
        <p:spPr>
          <a:xfrm>
            <a:off x="6202681" y="1828800"/>
            <a:ext cx="2590800" cy="4419600"/>
          </a:xfrm>
          <a:prstGeom prst="rect">
            <a:avLst/>
          </a:prstGeom>
          <a:solidFill>
            <a:schemeClr val="bg1">
              <a:alpha val="1918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B2E73CC-98C3-122D-DDE6-796A13CFB003}"/>
              </a:ext>
            </a:extLst>
          </p:cNvPr>
          <p:cNvSpPr/>
          <p:nvPr userDrawn="1"/>
        </p:nvSpPr>
        <p:spPr>
          <a:xfrm>
            <a:off x="3398521" y="1828800"/>
            <a:ext cx="2590800" cy="4419600"/>
          </a:xfrm>
          <a:prstGeom prst="rect">
            <a:avLst/>
          </a:prstGeom>
          <a:solidFill>
            <a:schemeClr val="bg1">
              <a:alpha val="1918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CC7C7DC-BACB-2DC7-7EFC-BC8651A17229}"/>
              </a:ext>
            </a:extLst>
          </p:cNvPr>
          <p:cNvSpPr/>
          <p:nvPr userDrawn="1"/>
        </p:nvSpPr>
        <p:spPr>
          <a:xfrm>
            <a:off x="594361" y="1828800"/>
            <a:ext cx="2590800" cy="4419600"/>
          </a:xfrm>
          <a:prstGeom prst="rect">
            <a:avLst/>
          </a:prstGeom>
          <a:solidFill>
            <a:schemeClr val="bg1">
              <a:alpha val="1918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EF993BF1-E47B-0543-82C5-D28232ADC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9EF67E38-439D-DA4E-8481-544978A4B9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A321E26-D184-D4E3-67AB-B6753847E19B}"/>
              </a:ext>
            </a:extLst>
          </p:cNvPr>
          <p:cNvGrpSpPr/>
          <p:nvPr/>
        </p:nvGrpSpPr>
        <p:grpSpPr>
          <a:xfrm>
            <a:off x="1322070" y="1303018"/>
            <a:ext cx="1135382" cy="1135382"/>
            <a:chOff x="828675" y="2082036"/>
            <a:chExt cx="841926" cy="841926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27FEB60D-3784-8085-5727-DB1EEBE7F182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gradFill>
              <a:gsLst>
                <a:gs pos="99000">
                  <a:schemeClr val="tx2"/>
                </a:gs>
                <a:gs pos="19000">
                  <a:schemeClr val="tx2">
                    <a:lumMod val="50000"/>
                  </a:schemeClr>
                </a:gs>
              </a:gsLst>
              <a:lin ang="8100000" scaled="1"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925F3-40E8-968E-B47F-A1B14A0A058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98418FB-2EE0-126B-ABEB-E6E30429A19A}"/>
              </a:ext>
            </a:extLst>
          </p:cNvPr>
          <p:cNvGrpSpPr/>
          <p:nvPr userDrawn="1"/>
        </p:nvGrpSpPr>
        <p:grpSpPr>
          <a:xfrm>
            <a:off x="4126230" y="1303018"/>
            <a:ext cx="1135382" cy="1135382"/>
            <a:chOff x="6315075" y="2057223"/>
            <a:chExt cx="841926" cy="841926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EB60922C-F5F8-2F15-FE80-7652089519A7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15075" y="2057223"/>
              <a:ext cx="841926" cy="841926"/>
            </a:xfrm>
            <a:prstGeom prst="ellipse">
              <a:avLst/>
            </a:prstGeom>
            <a:gradFill>
              <a:gsLst>
                <a:gs pos="99000">
                  <a:schemeClr val="tx2"/>
                </a:gs>
                <a:gs pos="19000">
                  <a:schemeClr val="tx2">
                    <a:lumMod val="50000"/>
                  </a:schemeClr>
                </a:gs>
              </a:gsLst>
              <a:lin ang="8100000" scaled="1"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40023594-A54B-AFD2-0842-75A61816C5D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388139" y="2130283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DA20CC7-A116-65F1-47B9-E1E1430919E4}"/>
              </a:ext>
            </a:extLst>
          </p:cNvPr>
          <p:cNvGrpSpPr/>
          <p:nvPr/>
        </p:nvGrpSpPr>
        <p:grpSpPr>
          <a:xfrm>
            <a:off x="6930390" y="1303018"/>
            <a:ext cx="1135382" cy="1135382"/>
            <a:chOff x="831786" y="4100558"/>
            <a:chExt cx="841926" cy="841926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49677590-F319-B777-B838-31609E997D6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31786" y="4100558"/>
              <a:ext cx="841926" cy="841926"/>
            </a:xfrm>
            <a:prstGeom prst="ellipse">
              <a:avLst/>
            </a:prstGeom>
            <a:gradFill>
              <a:gsLst>
                <a:gs pos="99000">
                  <a:schemeClr val="tx2"/>
                </a:gs>
                <a:gs pos="19000">
                  <a:schemeClr val="tx2">
                    <a:lumMod val="50000"/>
                  </a:schemeClr>
                </a:gs>
              </a:gsLst>
              <a:lin ang="8100000" scaled="1"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42C4B954-4D22-831B-4DEB-E60CC04AB8F4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4846" y="4173618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3E91250-B382-ACF0-AFCC-310F0B40A666}"/>
              </a:ext>
            </a:extLst>
          </p:cNvPr>
          <p:cNvGrpSpPr/>
          <p:nvPr/>
        </p:nvGrpSpPr>
        <p:grpSpPr>
          <a:xfrm>
            <a:off x="9734550" y="1303018"/>
            <a:ext cx="1135382" cy="1135382"/>
            <a:chOff x="6318185" y="4094407"/>
            <a:chExt cx="841926" cy="841926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C68A9DC0-30A1-BC3D-74D3-E54BCC0955EF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18185" y="4094407"/>
              <a:ext cx="841926" cy="841926"/>
            </a:xfrm>
            <a:prstGeom prst="ellipse">
              <a:avLst/>
            </a:prstGeom>
            <a:gradFill>
              <a:gsLst>
                <a:gs pos="99000">
                  <a:schemeClr val="tx2"/>
                </a:gs>
                <a:gs pos="19000">
                  <a:schemeClr val="tx2">
                    <a:lumMod val="50000"/>
                  </a:schemeClr>
                </a:gs>
              </a:gsLst>
              <a:lin ang="8100000" scaled="1"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94468285-47AB-0719-CBC6-9041693FDE03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91245" y="4167467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2D8DE35C-A6B8-3F5C-0057-216A7E3296B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7230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910E73D3-8C55-6C4A-314C-F5A7F0B7382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7230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34FFD1B7-2625-F2D4-CE35-823C6D75C37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50139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0580E85B-67DB-8F9C-F9E4-F9D9F0B2EE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50139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A8CB9092-DFAE-A574-889A-64141BA1060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30555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10">
            <a:extLst>
              <a:ext uri="{FF2B5EF4-FFF2-40B4-BE49-F238E27FC236}">
                <a16:creationId xmlns:a16="http://schemas.microsoft.com/office/drawing/2014/main" id="{21F9AFBC-DB7A-0B52-8451-6A2F28B42ED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30555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72878174-388C-D7D5-E040-C9B6FEA3F3A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10971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32503B2-0C63-687E-5215-2F535131C26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10971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F6039AE5-A854-A912-9E00-E6BA3B7312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E824902-3B34-7FCF-498A-AB3C0A48B8E9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E1F4429-C113-F916-E8EE-B18F75BC3E5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471024451"/>
      </p:ext>
    </p:extLst>
  </p:cSld>
  <p:clrMapOvr>
    <a:masterClrMapping/>
  </p:clrMapOvr>
  <p:transition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 Col + Copy +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19A9CC3-73DE-B2DA-3707-70B527EE186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F94FE247-D8F9-194B-39E8-56493FAD84FF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394201" y="1295400"/>
            <a:ext cx="3403598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Picture Placeholder 15">
            <a:extLst>
              <a:ext uri="{FF2B5EF4-FFF2-40B4-BE49-F238E27FC236}">
                <a16:creationId xmlns:a16="http://schemas.microsoft.com/office/drawing/2014/main" id="{758D0C94-8B71-BE5D-5525-5D9B67F16F8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178802" y="1295400"/>
            <a:ext cx="3403598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0DB05E8-5D25-DD87-3B2D-ACABB3702FD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" y="1295400"/>
            <a:ext cx="3403598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2C27E9AA-903A-B1F8-039F-9AA17E522C2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8814" y="2618482"/>
            <a:ext cx="326517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8A178294-5753-2424-18BD-306DB8B083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8814" y="1752600"/>
            <a:ext cx="326517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7BA6A96D-9D81-0995-2C95-4B0396409C3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63415" y="2618482"/>
            <a:ext cx="326517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D28FD761-5CA7-9C24-2730-D2F87BDE5FD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63415" y="1752600"/>
            <a:ext cx="326517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64831C33-C288-688C-4C0C-A6B074BE974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248017" y="2618482"/>
            <a:ext cx="326517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3566D4E9-C18D-B640-2F6A-4ADC6A42F9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48017" y="1752600"/>
            <a:ext cx="326517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933FDF7-E3C1-94AD-F295-18E4E0F994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772B863F-E483-3FD1-1EBF-67C3C2698A2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E097337-9FD4-3935-5CE2-42CDE24B49C1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6F47F8E-9E1C-E31F-6459-CE90FA4355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764E6C00-3A8C-26AD-BFBD-1EB051244B1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90018581"/>
      </p:ext>
    </p:extLst>
  </p:cSld>
  <p:clrMapOvr>
    <a:masterClrMapping/>
  </p:clrMapOvr>
  <p:transition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 Col + Copy +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19A9CC3-73DE-B2DA-3707-70B527EE186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F94FE247-D8F9-194B-39E8-56493FAD84FF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403601" y="1295400"/>
            <a:ext cx="2590800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Picture Placeholder 15">
            <a:extLst>
              <a:ext uri="{FF2B5EF4-FFF2-40B4-BE49-F238E27FC236}">
                <a16:creationId xmlns:a16="http://schemas.microsoft.com/office/drawing/2014/main" id="{758D0C94-8B71-BE5D-5525-5D9B67F16F8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197602" y="1295400"/>
            <a:ext cx="2590800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5" name="Picture Placeholder 15">
            <a:extLst>
              <a:ext uri="{FF2B5EF4-FFF2-40B4-BE49-F238E27FC236}">
                <a16:creationId xmlns:a16="http://schemas.microsoft.com/office/drawing/2014/main" id="{217CCBB9-8D37-95E5-D0AF-3ABCD3D7E68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991602" y="1295400"/>
            <a:ext cx="2590800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0DB05E8-5D25-DD87-3B2D-ACABB3702FD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" y="1295400"/>
            <a:ext cx="2590800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2C27E9AA-903A-B1F8-039F-9AA17E522C2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7230" y="2618482"/>
            <a:ext cx="238506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8A178294-5753-2424-18BD-306DB8B083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7230" y="17526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24D99293-8F44-587C-C6A6-C630940F329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506471" y="2618482"/>
            <a:ext cx="238506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D0F38D8F-513F-5B10-8CAD-B04F35D9658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06471" y="17526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4EEBC2EC-5B95-27A1-0839-CB4BA80E30C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300472" y="2618482"/>
            <a:ext cx="238506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10">
            <a:extLst>
              <a:ext uri="{FF2B5EF4-FFF2-40B4-BE49-F238E27FC236}">
                <a16:creationId xmlns:a16="http://schemas.microsoft.com/office/drawing/2014/main" id="{549AD924-C0D5-D6FF-9ADB-61E2B31EBC9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00472" y="17526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B8588871-D585-1518-EBE3-49DCD674B58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094472" y="2618482"/>
            <a:ext cx="238506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4EFDF170-A436-9AE7-95D3-DB0D83206E03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094472" y="17526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4" name="Picture 3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FBBEB8CC-DF09-0909-6A59-0495E18423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3485519-EEEE-963A-E887-1E9743D108A2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30F8BA2-6AF9-115B-7B2D-9B4B2CC9A65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D88B82C-9F4D-0D12-3F51-7C2A22FD41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2026BAA-1465-B70F-4841-FDCCEB963C9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81760559"/>
      </p:ext>
    </p:extLst>
  </p:cSld>
  <p:clrMapOvr>
    <a:masterClrMapping/>
  </p:clrMapOvr>
  <p:transition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3 col copy +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F950E1A-5434-5CD7-BBF4-A9000B062F7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1F07C65-AEC2-167F-F4B5-7AA702961FA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3" name="Picture 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65C8A76B-1CC3-DCF5-8E90-A875888DFB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8A28F2B2-EA0E-889F-B8E2-562E9D6712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541F605-332B-E8DA-963C-069951D441C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E947062B-A8F4-9E53-86B9-F51CBE811EA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9600" y="2794189"/>
            <a:ext cx="10972801" cy="349889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0F3B833-8F55-EB7B-B7D5-9F540C30D8AF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C5DC927-4E8E-AD19-9DA5-BB9857C415B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173279732"/>
      </p:ext>
    </p:extLst>
  </p:cSld>
  <p:clrMapOvr>
    <a:masterClrMapping/>
  </p:clrMapOvr>
  <p:transition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3 col copy + 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F950E1A-5434-5CD7-BBF4-A9000B062F7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99000">
                <a:schemeClr val="accent2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1F07C65-AEC2-167F-F4B5-7AA702961FA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3" name="Picture 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65C8A76B-1CC3-DCF5-8E90-A875888DFB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8A28F2B2-EA0E-889F-B8E2-562E9D6712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541F605-332B-E8DA-963C-069951D441C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E947062B-A8F4-9E53-86B9-F51CBE811EA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9600" y="2794189"/>
            <a:ext cx="10972801" cy="349889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0F3B833-8F55-EB7B-B7D5-9F540C30D8AF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C5DC927-4E8E-AD19-9DA5-BB9857C415B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095950133"/>
      </p:ext>
    </p:extLst>
  </p:cSld>
  <p:clrMapOvr>
    <a:masterClrMapping/>
  </p:clrMapOvr>
  <p:transition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Light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7E8A479-E758-2147-B823-D84DA9707E39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FE8E367A-44AC-E44E-9063-D1C9B7D9EE6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" y="528638"/>
            <a:ext cx="3352800" cy="3352800"/>
          </a:xfrm>
          <a:prstGeom prst="ellipse">
            <a:avLst/>
          </a:prstGeom>
        </p:spPr>
        <p:txBody>
          <a:bodyPr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553B9FD3-DD47-1044-BA3A-0E24992639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9099" y="4267200"/>
            <a:ext cx="3733800" cy="6096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304816" indent="0">
              <a:buNone/>
              <a:defRPr sz="2800" b="1">
                <a:solidFill>
                  <a:schemeClr val="bg1"/>
                </a:solidFill>
              </a:defRPr>
            </a:lvl2pPr>
            <a:lvl3pPr marL="671016" indent="0">
              <a:buNone/>
              <a:defRPr sz="2800" b="1">
                <a:solidFill>
                  <a:schemeClr val="bg1"/>
                </a:solidFill>
              </a:defRPr>
            </a:lvl3pPr>
            <a:lvl4pPr marL="1036372" indent="0">
              <a:buNone/>
              <a:defRPr sz="2800" b="1">
                <a:solidFill>
                  <a:schemeClr val="bg1"/>
                </a:solidFill>
              </a:defRPr>
            </a:lvl4pPr>
            <a:lvl5pPr marL="1280224" indent="0">
              <a:buNone/>
              <a:defRPr sz="2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9FE79029-5015-384F-A4DE-79D4BDE426A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9099" y="4882661"/>
            <a:ext cx="3733800" cy="6959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i="0">
                <a:solidFill>
                  <a:schemeClr val="bg1"/>
                </a:solidFill>
              </a:defRPr>
            </a:lvl1pPr>
            <a:lvl2pPr marL="304816" indent="0" algn="ctr">
              <a:buNone/>
              <a:defRPr sz="1400" i="1">
                <a:solidFill>
                  <a:schemeClr val="bg1"/>
                </a:solidFill>
              </a:defRPr>
            </a:lvl2pPr>
            <a:lvl3pPr marL="671016" indent="0" algn="ctr">
              <a:buNone/>
              <a:defRPr sz="1400" i="1">
                <a:solidFill>
                  <a:schemeClr val="bg1"/>
                </a:solidFill>
              </a:defRPr>
            </a:lvl3pPr>
            <a:lvl4pPr marL="1036372" indent="0" algn="ctr">
              <a:buNone/>
              <a:defRPr sz="1400" i="1">
                <a:solidFill>
                  <a:schemeClr val="bg1"/>
                </a:solidFill>
              </a:defRPr>
            </a:lvl4pPr>
            <a:lvl5pPr marL="1280224" indent="0" algn="ctr">
              <a:buNone/>
              <a:defRPr sz="14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DA4ACC24-3880-0244-A572-FD6D3A85457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65701" y="457200"/>
            <a:ext cx="6807200" cy="48005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Biography goes here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494677B5-8683-4E43-900B-5957C31A82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5701" y="5419301"/>
            <a:ext cx="6807200" cy="77002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400"/>
              </a:spcBef>
              <a:buNone/>
              <a:defRPr sz="1400" b="1">
                <a:solidFill>
                  <a:schemeClr val="tx2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xpertise: Area of Expertise</a:t>
            </a:r>
          </a:p>
          <a:p>
            <a:pPr lvl="0"/>
            <a:r>
              <a:rPr lang="en-US" b="0"/>
              <a:t>List of extra areas/supplemental things</a:t>
            </a:r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57B6C66-85EB-E737-C941-7855FDA1B18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7D4BB72-EF15-F04D-7684-AEB57C15B03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203052703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2 Subheads +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ADCFE1C-724C-2E42-BC21-E191CF74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AB232D6-8A78-9443-B31B-EA7B3FD22D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143693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EA7698F4-4722-6480-4745-FF7E99432AA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867654"/>
            <a:ext cx="5321808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03EE18E-4562-4BAB-8D6A-E7809610968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1867654"/>
            <a:ext cx="5321808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85036930"/>
      </p:ext>
    </p:extLst>
  </p:cSld>
  <p:clrMapOvr>
    <a:masterClrMapping/>
  </p:clrMapOvr>
  <p:transition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C211B6C-FB39-3446-B52F-C45ADC2BFB58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FE8E367A-44AC-E44E-9063-D1C9B7D9EE6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" y="528638"/>
            <a:ext cx="3352800" cy="3352800"/>
          </a:xfrm>
          <a:prstGeom prst="ellipse">
            <a:avLst/>
          </a:prstGeom>
        </p:spPr>
        <p:txBody>
          <a:bodyPr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553B9FD3-DD47-1044-BA3A-0E24992639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9099" y="4267200"/>
            <a:ext cx="3733800" cy="6096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304816" indent="0">
              <a:buNone/>
              <a:defRPr sz="2800" b="1">
                <a:solidFill>
                  <a:schemeClr val="bg1"/>
                </a:solidFill>
              </a:defRPr>
            </a:lvl2pPr>
            <a:lvl3pPr marL="671016" indent="0">
              <a:buNone/>
              <a:defRPr sz="2800" b="1">
                <a:solidFill>
                  <a:schemeClr val="bg1"/>
                </a:solidFill>
              </a:defRPr>
            </a:lvl3pPr>
            <a:lvl4pPr marL="1036372" indent="0">
              <a:buNone/>
              <a:defRPr sz="2800" b="1">
                <a:solidFill>
                  <a:schemeClr val="bg1"/>
                </a:solidFill>
              </a:defRPr>
            </a:lvl4pPr>
            <a:lvl5pPr marL="1280224" indent="0">
              <a:buNone/>
              <a:defRPr sz="2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9FE79029-5015-384F-A4DE-79D4BDE426A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9099" y="4882661"/>
            <a:ext cx="3733800" cy="6959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i="0">
                <a:solidFill>
                  <a:schemeClr val="bg1"/>
                </a:solidFill>
              </a:defRPr>
            </a:lvl1pPr>
            <a:lvl2pPr marL="304816" indent="0" algn="ctr">
              <a:buNone/>
              <a:defRPr sz="1400" i="1">
                <a:solidFill>
                  <a:schemeClr val="bg1"/>
                </a:solidFill>
              </a:defRPr>
            </a:lvl2pPr>
            <a:lvl3pPr marL="671016" indent="0" algn="ctr">
              <a:buNone/>
              <a:defRPr sz="1400" i="1">
                <a:solidFill>
                  <a:schemeClr val="bg1"/>
                </a:solidFill>
              </a:defRPr>
            </a:lvl3pPr>
            <a:lvl4pPr marL="1036372" indent="0" algn="ctr">
              <a:buNone/>
              <a:defRPr sz="1400" i="1">
                <a:solidFill>
                  <a:schemeClr val="bg1"/>
                </a:solidFill>
              </a:defRPr>
            </a:lvl4pPr>
            <a:lvl5pPr marL="1280224" indent="0" algn="ctr">
              <a:buNone/>
              <a:defRPr sz="14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DA4ACC24-3880-0244-A572-FD6D3A85457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65701" y="457200"/>
            <a:ext cx="6807200" cy="48005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Biography goes here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494677B5-8683-4E43-900B-5957C31A82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5701" y="5419301"/>
            <a:ext cx="6807200" cy="77002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400"/>
              </a:spcBef>
              <a:buNone/>
              <a:defRPr sz="1400" b="1">
                <a:solidFill>
                  <a:schemeClr val="tx2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xpertise: Area of Expertise</a:t>
            </a:r>
          </a:p>
          <a:p>
            <a:pPr lvl="0"/>
            <a:r>
              <a:rPr lang="en-US" b="0"/>
              <a:t>List of extra areas/supplemental things</a:t>
            </a:r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F007714-1EDB-F6C7-C8CB-A10217A259C8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57FD726-EC2F-7814-790A-65D03287B75A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839566515"/>
      </p:ext>
    </p:extLst>
  </p:cSld>
  <p:clrMapOvr>
    <a:masterClrMapping/>
  </p:clrMapOvr>
  <p:transition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Lighter Blue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3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C7B55AA-1FD7-D998-FEF6-231028E4EF74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E10394D-FF76-F8A0-3E5B-FF31F5AF953C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475236041"/>
      </p:ext>
    </p:extLst>
  </p:cSld>
  <p:clrMapOvr>
    <a:masterClrMapping/>
  </p:clrMapOvr>
  <p:transition>
    <p:fade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Lighter Blue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C7B55AA-1FD7-D998-FEF6-231028E4EF74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E10394D-FF76-F8A0-3E5B-FF31F5AF953C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2C121A8-C0BC-A951-F4DE-FDD8267627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984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B564137E-7648-AD38-CD8D-4B5AC37C263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8984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43055109"/>
      </p:ext>
    </p:extLst>
  </p:cSld>
  <p:clrMapOvr>
    <a:masterClrMapping/>
  </p:clrMapOvr>
  <p:transition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Dark Blue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AB8505E-4E55-1E42-B6E9-B87303ABDE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2F89574-AA17-5943-B7F9-0A4D6716481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3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9452291-43C3-AF5E-1FAD-4EAB1004815D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D5DC41-1E40-6029-02B0-771E0E01265E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14437625"/>
      </p:ext>
    </p:extLst>
  </p:cSld>
  <p:clrMapOvr>
    <a:masterClrMapping/>
  </p:clrMapOvr>
  <p:transition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Dark Blue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AB8505E-4E55-1E42-B6E9-B87303ABDE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9452291-43C3-AF5E-1FAD-4EAB1004815D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D5DC41-1E40-6029-02B0-771E0E01265E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9FB0B9B-D069-4C7B-0682-6EDD818C18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984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47F397D2-2E70-F138-05E2-7E55CA6C25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8984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48063626"/>
      </p:ext>
    </p:extLst>
  </p:cSld>
  <p:clrMapOvr>
    <a:masterClrMapping/>
  </p:clrMapOvr>
  <p:transition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erry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C5B49DC-9D7C-E966-60DE-22C8D3D884E1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000">
                <a:schemeClr val="tx2"/>
              </a:gs>
              <a:gs pos="100000">
                <a:schemeClr val="accent2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AB8505E-4E55-1E42-B6E9-B87303ABDE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2F89574-AA17-5943-B7F9-0A4D6716481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3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42E3AC-ABB9-330F-9959-790702634C51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1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69459E0-8E11-8510-97F4-BDF8DA2962A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1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062170058"/>
      </p:ext>
    </p:extLst>
  </p:cSld>
  <p:clrMapOvr>
    <a:masterClrMapping/>
  </p:clrMapOvr>
  <p:transition>
    <p:fade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erry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6E41728-ADBE-F129-3130-5C7A7B67AD39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000">
                <a:schemeClr val="tx2"/>
              </a:gs>
              <a:gs pos="100000">
                <a:schemeClr val="accent2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AB8505E-4E55-1E42-B6E9-B87303ABDE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42E3AC-ABB9-330F-9959-790702634C51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1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69459E0-8E11-8510-97F4-BDF8DA2962A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1"/>
                </a:solidFill>
              </a:rPr>
              <a:t>© 2025 EVERSANA.  All Rights Reserved.  CONFIDENTIAL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AC0B27-A86C-4569-E032-9BCAF5BE56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984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F7DAEA6C-B549-34F6-E58F-564198059D7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8984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9184807"/>
      </p:ext>
    </p:extLst>
  </p:cSld>
  <p:clrMapOvr>
    <a:masterClrMapping/>
  </p:clrMapOvr>
  <p:transition>
    <p:fade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Lighter Blue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8150544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8115385-43EB-7440-886E-68C3ADCB0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4654932"/>
      </p:ext>
    </p:extLst>
  </p:cSld>
  <p:clrMapOvr>
    <a:masterClrMapping/>
  </p:clrMapOvr>
  <p:transition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Lighter Blue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8115385-43EB-7440-886E-68C3ADCB0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DD6A631-C1E5-0767-E5ED-C812E78915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28985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0845615A-2A80-83E2-8E73-E6E07D8D22F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28985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1694359"/>
      </p:ext>
    </p:extLst>
  </p:cSld>
  <p:clrMapOvr>
    <a:masterClrMapping/>
  </p:clrMapOvr>
  <p:transition>
    <p:fade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Dark Blue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E16005D-1F88-4049-A080-18E58886C4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E777987-AF80-FE40-A5DC-D5093D72F7A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8150544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B967013-4DC9-A04B-B979-69C0CB1C98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331220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head +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AF2D4E68-4F97-3945-BF53-128D9F73D0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F844099-0217-4245-AAC6-FFE1ECF6C9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C606B273-5E4F-184A-B3B0-35245A640A6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330036"/>
            <a:ext cx="351351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D98FBF71-FFEA-7347-8614-0BAD488B12C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9244" y="1330036"/>
            <a:ext cx="351351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FAB660B1-EE7D-1142-8C46-9D3A7234701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68888" y="1330036"/>
            <a:ext cx="351351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0583298"/>
      </p:ext>
    </p:extLst>
  </p:cSld>
  <p:clrMapOvr>
    <a:masterClrMapping/>
  </p:clrMapOvr>
  <p:transition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Dark Blue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E16005D-1F88-4049-A080-18E58886C4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B967013-4DC9-A04B-B979-69C0CB1C98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C0A9C-3157-C6E9-E1C2-BEEAD5E5A5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28985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A0EF1490-F660-E664-128A-26932B78FC9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28985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17373413"/>
      </p:ext>
    </p:extLst>
  </p:cSld>
  <p:clrMapOvr>
    <a:masterClrMapping/>
  </p:clrMapOvr>
  <p:transition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erry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12E709-A30E-4DDE-F3EF-8AE6B3C1B5B2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097CF4C-8A18-814C-B219-D2786455E0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0737808-75DD-1C45-B1A1-280C2BB8634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8150544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5DCEA0E-DB5E-EB45-BBB4-7BA4B83384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9325938"/>
      </p:ext>
    </p:extLst>
  </p:cSld>
  <p:clrMapOvr>
    <a:masterClrMapping/>
  </p:clrMapOvr>
  <p:transition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erry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12E709-A30E-4DDE-F3EF-8AE6B3C1B5B2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097CF4C-8A18-814C-B219-D2786455E0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5DCEA0E-DB5E-EB45-BBB4-7BA4B83384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CEFD47A6-A33F-69CF-4422-E6908DC9B9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28985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CE29EA41-768C-6B69-7AD8-F8773E3036B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28985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06127396"/>
      </p:ext>
    </p:extLst>
  </p:cSld>
  <p:clrMapOvr>
    <a:masterClrMapping/>
  </p:clrMapOvr>
  <p:transition>
    <p:fade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Lighter Blue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8B92AFC-ED64-DB45-9244-44C168BDE0AC}"/>
              </a:ext>
            </a:extLst>
          </p:cNvPr>
          <p:cNvSpPr/>
          <p:nvPr userDrawn="1"/>
        </p:nvSpPr>
        <p:spPr>
          <a:xfrm>
            <a:off x="0" y="0"/>
            <a:ext cx="6096001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2" y="1373259"/>
            <a:ext cx="5032057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84C018-45E2-1484-F05F-EA4D31F40821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0CE3E2-E034-CA54-7E74-0AD15FF2A3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410684245"/>
      </p:ext>
    </p:extLst>
  </p:cSld>
  <p:clrMapOvr>
    <a:masterClrMapping/>
  </p:clrMapOvr>
  <p:transition>
    <p:fade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Lighter Blue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8B92AFC-ED64-DB45-9244-44C168BDE0AC}"/>
              </a:ext>
            </a:extLst>
          </p:cNvPr>
          <p:cNvSpPr/>
          <p:nvPr userDrawn="1"/>
        </p:nvSpPr>
        <p:spPr>
          <a:xfrm>
            <a:off x="0" y="0"/>
            <a:ext cx="6096001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60590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84C018-45E2-1484-F05F-EA4D31F40821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0CE3E2-E034-CA54-7E74-0AD15FF2A3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7A66765C-EDB8-E7EB-7E5D-C406CA01B5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0590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91608068"/>
      </p:ext>
    </p:extLst>
  </p:cSld>
  <p:clrMapOvr>
    <a:masterClrMapping/>
  </p:clrMapOvr>
  <p:transition>
    <p:fade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Darker Blue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4700783-38EA-A14F-8386-394787B4AB61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2" y="1373259"/>
            <a:ext cx="5032057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B590D43-51B2-E902-AD38-B40FD459CB8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A806746-F11E-2C56-94AD-E1D275BC52E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915035396"/>
      </p:ext>
    </p:extLst>
  </p:cSld>
  <p:clrMapOvr>
    <a:masterClrMapping/>
  </p:clrMapOvr>
  <p:transition>
    <p:fade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Darker Blue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4700783-38EA-A14F-8386-394787B4AB61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B590D43-51B2-E902-AD38-B40FD459CB8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A806746-F11E-2C56-94AD-E1D275BC52E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7963B7-F628-2D68-F6DB-AF27E27269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60590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053EB6CF-6606-F15B-4EA0-10F2B110625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0590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79817700"/>
      </p:ext>
    </p:extLst>
  </p:cSld>
  <p:clrMapOvr>
    <a:masterClrMapping/>
  </p:clrMapOvr>
  <p:transition>
    <p:fade/>
  </p:transition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erry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903018F-389D-2B05-2192-AAB586AED729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2" y="1373259"/>
            <a:ext cx="5032057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6E538A-5EE6-1459-24B2-41ED4900400B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1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D97E0F3-88DD-850F-5C8F-2CA13DAACBE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1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79416603"/>
      </p:ext>
    </p:extLst>
  </p:cSld>
  <p:clrMapOvr>
    <a:masterClrMapping/>
  </p:clrMapOvr>
  <p:transition>
    <p:fade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erry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903018F-389D-2B05-2192-AAB586AED729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6E538A-5EE6-1459-24B2-41ED4900400B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1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D97E0F3-88DD-850F-5C8F-2CA13DAACBE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1"/>
                </a:solidFill>
              </a:rPr>
              <a:t>© 2025 EVERSANA.  All Rights Reserved.  CONFIDENTIAL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E2EDFA65-3981-501C-97F4-6D2E8FEE27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60590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8249D771-5A70-F242-0447-0D4445722E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0590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84717055"/>
      </p:ext>
    </p:extLst>
  </p:cSld>
  <p:clrMapOvr>
    <a:masterClrMapping/>
  </p:clrMapOvr>
  <p:transition>
    <p:fade/>
  </p:transition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Lighter Blue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685800"/>
            <a:ext cx="4876800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805295" y="1486728"/>
            <a:ext cx="4677412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8115385-43EB-7440-886E-68C3ADCB0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9545233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2 Subheads +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480D407-E604-3A43-8481-C3DB43C32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27970DF-10CC-3741-9635-618FEBE42D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F09033BB-ABAE-494B-7612-2BD4B5E0C1A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524000"/>
            <a:ext cx="351351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037BB706-4FA2-672F-5B74-75EF80BC6D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9244" y="1524000"/>
            <a:ext cx="351351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7F5315FB-3F54-7F5A-F77E-11F8019AED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68888" y="1524000"/>
            <a:ext cx="351351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54201982"/>
      </p:ext>
    </p:extLst>
  </p:cSld>
  <p:clrMapOvr>
    <a:masterClrMapping/>
  </p:clrMapOvr>
  <p:transition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Lighter Blue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685800"/>
            <a:ext cx="4876800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8115385-43EB-7440-886E-68C3ADCB0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094B398-1CD8-33B7-347B-8CA3EE42D5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656591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39EE5620-B81D-6F41-D513-0677CAFF2D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6591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5416362"/>
      </p:ext>
    </p:extLst>
  </p:cSld>
  <p:clrMapOvr>
    <a:masterClrMapping/>
  </p:clrMapOvr>
  <p:transition>
    <p:fade/>
  </p:transition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Dark Blue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E16005D-1F88-4049-A080-18E58886C4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685800"/>
            <a:ext cx="4873752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E777987-AF80-FE40-A5DC-D5093D72F7A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805295" y="1486728"/>
            <a:ext cx="4677412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B967013-4DC9-A04B-B979-69C0CB1C98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2131486"/>
      </p:ext>
    </p:extLst>
  </p:cSld>
  <p:clrMapOvr>
    <a:masterClrMapping/>
  </p:clrMapOvr>
  <p:transition>
    <p:fade/>
  </p:transition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Dark Blue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E16005D-1F88-4049-A080-18E58886C4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685800"/>
            <a:ext cx="4873752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B967013-4DC9-A04B-B979-69C0CB1C98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E899FF8-C8AF-5EEA-D11D-50CC4621E9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656591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41F308DB-6CFF-ED16-8773-EF615C11AE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6591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9946578"/>
      </p:ext>
    </p:extLst>
  </p:cSld>
  <p:clrMapOvr>
    <a:masterClrMapping/>
  </p:clrMapOvr>
  <p:transition>
    <p:fade/>
  </p:transition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erry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12E709-A30E-4DDE-F3EF-8AE6B3C1B5B2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097CF4C-8A18-814C-B219-D2786455E0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685800"/>
            <a:ext cx="4873752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0737808-75DD-1C45-B1A1-280C2BB8634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805295" y="1486728"/>
            <a:ext cx="4677412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5DCEA0E-DB5E-EB45-BBB4-7BA4B83384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470779"/>
      </p:ext>
    </p:extLst>
  </p:cSld>
  <p:clrMapOvr>
    <a:masterClrMapping/>
  </p:clrMapOvr>
  <p:transition>
    <p:fade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erry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12E709-A30E-4DDE-F3EF-8AE6B3C1B5B2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097CF4C-8A18-814C-B219-D2786455E0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685800"/>
            <a:ext cx="4873752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5DCEA0E-DB5E-EB45-BBB4-7BA4B83384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07678FAA-05B0-5A3A-9E9D-0991F797C0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656591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57B1DFF0-07F0-DBBB-17FF-5FE7B371893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6591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27232131"/>
      </p:ext>
    </p:extLst>
  </p:cSld>
  <p:clrMapOvr>
    <a:masterClrMapping/>
  </p:clrMapOvr>
  <p:transition>
    <p:fade/>
  </p:transition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Light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4307840" y="1371599"/>
            <a:ext cx="3581574" cy="48006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066800"/>
            <a:ext cx="3574302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066800"/>
            <a:ext cx="3581574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0668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007679B-DCDF-A64B-B0FC-7BE9527C4F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02214972"/>
      </p:ext>
    </p:extLst>
  </p:cSld>
  <p:clrMapOvr>
    <a:masterClrMapping/>
  </p:clrMapOvr>
  <p:transition>
    <p:fade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Light + 1 Title + 1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2E4FD1D-BDEC-E736-BA8C-9FFE8E25204E}"/>
              </a:ext>
            </a:extLst>
          </p:cNvPr>
          <p:cNvSpPr/>
          <p:nvPr userDrawn="1"/>
        </p:nvSpPr>
        <p:spPr>
          <a:xfrm>
            <a:off x="4307840" y="1545864"/>
            <a:ext cx="3581574" cy="46507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Parallelogram 3">
            <a:extLst>
              <a:ext uri="{FF2B5EF4-FFF2-40B4-BE49-F238E27FC236}">
                <a16:creationId xmlns:a16="http://schemas.microsoft.com/office/drawing/2014/main" id="{CDCD5D82-C5E2-5D73-F5E4-C3D35422F16D}"/>
              </a:ext>
            </a:extLst>
          </p:cNvPr>
          <p:cNvSpPr/>
          <p:nvPr userDrawn="1"/>
        </p:nvSpPr>
        <p:spPr>
          <a:xfrm>
            <a:off x="614679" y="1311729"/>
            <a:ext cx="3574302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B2CE68FE-9F51-ACD7-AD33-4543E361F051}"/>
              </a:ext>
            </a:extLst>
          </p:cNvPr>
          <p:cNvSpPr/>
          <p:nvPr userDrawn="1"/>
        </p:nvSpPr>
        <p:spPr>
          <a:xfrm>
            <a:off x="4312278" y="1317264"/>
            <a:ext cx="3581574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DCFDBA1-AC82-6D86-9FC0-4E0D810BC6A3}"/>
              </a:ext>
            </a:extLst>
          </p:cNvPr>
          <p:cNvSpPr/>
          <p:nvPr userDrawn="1"/>
        </p:nvSpPr>
        <p:spPr>
          <a:xfrm>
            <a:off x="8023934" y="1317264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AD7CA1D6-C5B5-E104-774C-2B5A7FD8445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2242685"/>
            <a:ext cx="3352800" cy="377711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78C13F36-7BCA-EF90-4DA4-0F72C1B07EA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2242685"/>
            <a:ext cx="3352800" cy="377711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1171102C-087D-1CB1-8EE5-9998DE3AFA7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2242685"/>
            <a:ext cx="3352800" cy="377711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EC36F384-266C-4760-4943-4AB0BA6B3B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EA85711C-A814-DC90-87DE-98E2D438144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2876513"/>
      </p:ext>
    </p:extLst>
  </p:cSld>
  <p:clrMapOvr>
    <a:masterClrMapping/>
  </p:clrMapOvr>
  <p:transition>
    <p:fade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Light + 2 Title + 1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4307840" y="2057399"/>
            <a:ext cx="3581574" cy="41148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823265"/>
            <a:ext cx="3574302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828800"/>
            <a:ext cx="3581574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8288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2754221"/>
            <a:ext cx="3352800" cy="3341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2754221"/>
            <a:ext cx="3352800" cy="3341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2754221"/>
            <a:ext cx="3352800" cy="3341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E2DD6DF-FE85-9E0A-0E19-7D0C7BBCD9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6F67B588-9C69-C720-9C06-1FDB83A0D19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65119720"/>
      </p:ext>
    </p:extLst>
  </p:cSld>
  <p:clrMapOvr>
    <a:masterClrMapping/>
  </p:clrMapOvr>
  <p:transition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+ 3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Picture Placeholder 54">
            <a:extLst>
              <a:ext uri="{FF2B5EF4-FFF2-40B4-BE49-F238E27FC236}">
                <a16:creationId xmlns:a16="http://schemas.microsoft.com/office/drawing/2014/main" id="{F3F6F1AF-2D78-69E6-F0B8-6576EE713F6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" y="0"/>
            <a:ext cx="6096000" cy="6175816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72970C1F-675B-0ABF-7786-28B42A047999}"/>
              </a:ext>
            </a:extLst>
          </p:cNvPr>
          <p:cNvSpPr txBox="1"/>
          <p:nvPr userDrawn="1"/>
        </p:nvSpPr>
        <p:spPr bwMode="gray">
          <a:xfrm>
            <a:off x="6410325" y="4551771"/>
            <a:ext cx="5190379" cy="1371600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C3D813E-17E8-D7B1-1388-17D9B9050D5A}"/>
              </a:ext>
            </a:extLst>
          </p:cNvPr>
          <p:cNvSpPr txBox="1"/>
          <p:nvPr userDrawn="1"/>
        </p:nvSpPr>
        <p:spPr bwMode="gray">
          <a:xfrm>
            <a:off x="6410325" y="2930790"/>
            <a:ext cx="5190379" cy="1371600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46" name="Text Placeholder 7">
            <a:extLst>
              <a:ext uri="{FF2B5EF4-FFF2-40B4-BE49-F238E27FC236}">
                <a16:creationId xmlns:a16="http://schemas.microsoft.com/office/drawing/2014/main" id="{62CFDF44-7037-7160-6077-0C6E33401DC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25405" y="3269523"/>
            <a:ext cx="4111522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9DB6B106-3FE8-FEAC-8F1D-4FD515992D4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25405" y="3636669"/>
            <a:ext cx="4111522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221CF6-692E-C0B4-F6CB-3A8E325C2B46}"/>
              </a:ext>
            </a:extLst>
          </p:cNvPr>
          <p:cNvSpPr txBox="1"/>
          <p:nvPr userDrawn="1"/>
        </p:nvSpPr>
        <p:spPr bwMode="gray">
          <a:xfrm>
            <a:off x="6410325" y="1316736"/>
            <a:ext cx="5190379" cy="1371600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96F70FC-1F8B-A2BD-2389-4AF981139895}"/>
              </a:ext>
            </a:extLst>
          </p:cNvPr>
          <p:cNvGrpSpPr/>
          <p:nvPr userDrawn="1"/>
        </p:nvGrpSpPr>
        <p:grpSpPr>
          <a:xfrm>
            <a:off x="5789344" y="1305051"/>
            <a:ext cx="1394970" cy="1394970"/>
            <a:chOff x="828675" y="2082036"/>
            <a:chExt cx="841926" cy="841926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73FFA462-FD02-6D22-B7BC-D8B12B5B4124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277D5DAB-824F-69A8-1C7B-908E6D341047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F308E21F-0E3B-0420-0DE0-78CF0EB64F13}"/>
              </a:ext>
            </a:extLst>
          </p:cNvPr>
          <p:cNvGrpSpPr/>
          <p:nvPr userDrawn="1"/>
        </p:nvGrpSpPr>
        <p:grpSpPr>
          <a:xfrm>
            <a:off x="5789344" y="2924301"/>
            <a:ext cx="1394970" cy="1394970"/>
            <a:chOff x="828675" y="2082036"/>
            <a:chExt cx="841926" cy="841926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E2138A9C-C266-6B44-711D-EBF023E0BD7E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1E2BDFE9-6519-3D35-1122-53D9983FDCD8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743F2406-4FB5-99B7-7EF1-3676E898222A}"/>
              </a:ext>
            </a:extLst>
          </p:cNvPr>
          <p:cNvGrpSpPr/>
          <p:nvPr userDrawn="1"/>
        </p:nvGrpSpPr>
        <p:grpSpPr>
          <a:xfrm>
            <a:off x="5789344" y="4543551"/>
            <a:ext cx="1394970" cy="1394970"/>
            <a:chOff x="828675" y="2082036"/>
            <a:chExt cx="841926" cy="841926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7FCB5D0B-6A8F-F899-05EB-D7E9664059C3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A134FBE2-518D-1CFD-1AE2-8F92BF50C6AF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7" name="Title 1">
            <a:extLst>
              <a:ext uri="{FF2B5EF4-FFF2-40B4-BE49-F238E27FC236}">
                <a16:creationId xmlns:a16="http://schemas.microsoft.com/office/drawing/2014/main" id="{44058530-687E-1944-449D-CDD8CAB6A3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6833" y="358909"/>
            <a:ext cx="5135568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8AFAF07E-BA6C-F993-36ED-3DC652E123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46833" y="793111"/>
            <a:ext cx="5135568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B2E7CDC0-06D5-2649-74DF-94FE3E7D68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2250" y="331126"/>
            <a:ext cx="3989388" cy="403225"/>
          </a:xfrm>
        </p:spPr>
        <p:txBody>
          <a:bodyPr anchor="ctr"/>
          <a:lstStyle>
            <a:lvl1pPr marL="0" indent="0" algn="r">
              <a:buNone/>
              <a:defRPr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ASE STUDY SUBJECT</a:t>
            </a:r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A58E33A8-8323-569B-1551-988D23019D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25405" y="1655469"/>
            <a:ext cx="4111522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4A3C8217-9724-B9A2-9BD2-5B32457886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325405" y="2022615"/>
            <a:ext cx="4111522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234B589B-D62B-8B74-7346-26D2CF39530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25405" y="4890504"/>
            <a:ext cx="4111522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0" name="Text Placeholder 7">
            <a:extLst>
              <a:ext uri="{FF2B5EF4-FFF2-40B4-BE49-F238E27FC236}">
                <a16:creationId xmlns:a16="http://schemas.microsoft.com/office/drawing/2014/main" id="{69D9F3F5-427B-373D-2532-8AECF747A25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325405" y="5257650"/>
            <a:ext cx="4111522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</p:spTree>
    <p:extLst>
      <p:ext uri="{BB962C8B-B14F-4D97-AF65-F5344CB8AC3E}">
        <p14:creationId xmlns:p14="http://schemas.microsoft.com/office/powerpoint/2010/main" val="285007305"/>
      </p:ext>
    </p:extLst>
  </p:cSld>
  <p:clrMapOvr>
    <a:masterClrMapping/>
  </p:clrMapOvr>
  <p:transition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+ 4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Picture Placeholder 54">
            <a:extLst>
              <a:ext uri="{FF2B5EF4-FFF2-40B4-BE49-F238E27FC236}">
                <a16:creationId xmlns:a16="http://schemas.microsoft.com/office/drawing/2014/main" id="{82D63F1B-C9BF-7913-D252-3E253EC1E21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" y="0"/>
            <a:ext cx="6096000" cy="6175816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067D481-562B-42D8-F213-7E140897F0FC}"/>
              </a:ext>
            </a:extLst>
          </p:cNvPr>
          <p:cNvSpPr txBox="1"/>
          <p:nvPr userDrawn="1"/>
        </p:nvSpPr>
        <p:spPr bwMode="gray">
          <a:xfrm>
            <a:off x="6410325" y="1326917"/>
            <a:ext cx="5190379" cy="1052753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EFADE37-5D4C-E8ED-DB51-73E2E1D860A3}"/>
              </a:ext>
            </a:extLst>
          </p:cNvPr>
          <p:cNvGrpSpPr/>
          <p:nvPr userDrawn="1"/>
        </p:nvGrpSpPr>
        <p:grpSpPr>
          <a:xfrm>
            <a:off x="5789344" y="1305051"/>
            <a:ext cx="1096486" cy="1096486"/>
            <a:chOff x="828675" y="2082036"/>
            <a:chExt cx="841926" cy="841926"/>
          </a:xfrm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809AF017-0BCF-CCFB-572B-61BCC8EF55FB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FF3CB7F8-480C-E891-8442-4847CCBE756D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7" name="Title 1">
            <a:extLst>
              <a:ext uri="{FF2B5EF4-FFF2-40B4-BE49-F238E27FC236}">
                <a16:creationId xmlns:a16="http://schemas.microsoft.com/office/drawing/2014/main" id="{44058530-687E-1944-449D-CDD8CAB6A3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6833" y="358909"/>
            <a:ext cx="5135568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8AFAF07E-BA6C-F993-36ED-3DC652E123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46833" y="793111"/>
            <a:ext cx="5135568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B2E7CDC0-06D5-2649-74DF-94FE3E7D68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2250" y="331126"/>
            <a:ext cx="3989388" cy="403225"/>
          </a:xfrm>
        </p:spPr>
        <p:txBody>
          <a:bodyPr anchor="ctr"/>
          <a:lstStyle>
            <a:lvl1pPr marL="0" indent="0" algn="r">
              <a:buNone/>
              <a:defRPr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ASE STUDY SUBJECT</a:t>
            </a:r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A58E33A8-8323-569B-1551-988D23019D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72738" y="1475360"/>
            <a:ext cx="4364189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4A3C8217-9724-B9A2-9BD2-5B32457886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72738" y="1842506"/>
            <a:ext cx="4364189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E55027F-C35B-C370-68AC-7F0DA13F2323}"/>
              </a:ext>
            </a:extLst>
          </p:cNvPr>
          <p:cNvSpPr txBox="1"/>
          <p:nvPr userDrawn="1"/>
        </p:nvSpPr>
        <p:spPr bwMode="gray">
          <a:xfrm>
            <a:off x="6410325" y="2592299"/>
            <a:ext cx="5190379" cy="1052753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F546826-A084-09AB-3A96-D3E3C75B14F4}"/>
              </a:ext>
            </a:extLst>
          </p:cNvPr>
          <p:cNvGrpSpPr/>
          <p:nvPr userDrawn="1"/>
        </p:nvGrpSpPr>
        <p:grpSpPr>
          <a:xfrm>
            <a:off x="5789344" y="2570433"/>
            <a:ext cx="1096486" cy="1096486"/>
            <a:chOff x="828675" y="2082036"/>
            <a:chExt cx="841926" cy="841926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44AA2F92-0C16-E2BC-82CF-46E3E918DCFC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49E28793-17D6-8EE6-773B-FBCD5C5EF71A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85E23864-C902-882B-66DF-19CF2982624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072738" y="2769642"/>
            <a:ext cx="4364189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42F712B5-AE68-0197-6D93-C82ABF6113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072738" y="3136788"/>
            <a:ext cx="4364189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86F773E-6584-B454-4B5D-C8E244D39CCE}"/>
              </a:ext>
            </a:extLst>
          </p:cNvPr>
          <p:cNvSpPr txBox="1"/>
          <p:nvPr userDrawn="1"/>
        </p:nvSpPr>
        <p:spPr bwMode="gray">
          <a:xfrm>
            <a:off x="6410325" y="3857681"/>
            <a:ext cx="5190379" cy="1052753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B02DFB3F-1E22-2C2F-ABC1-961BE837B659}"/>
              </a:ext>
            </a:extLst>
          </p:cNvPr>
          <p:cNvGrpSpPr/>
          <p:nvPr userDrawn="1"/>
        </p:nvGrpSpPr>
        <p:grpSpPr>
          <a:xfrm>
            <a:off x="5789344" y="3835814"/>
            <a:ext cx="1096486" cy="1096486"/>
            <a:chOff x="828675" y="2082036"/>
            <a:chExt cx="841926" cy="841926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1DD830DE-6A88-9F13-C807-2F33A626D87B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3D06FFF1-1EBE-83B3-936F-84C666AA6AAB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82CC4075-2B35-9E5D-9C6E-0AA54A6892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072738" y="4024597"/>
            <a:ext cx="4364189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A00EDACA-67C9-A9FE-8058-D127D6A765C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072738" y="4391743"/>
            <a:ext cx="4364189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B8F9648-F688-A4AB-D6BD-523F183883AB}"/>
              </a:ext>
            </a:extLst>
          </p:cNvPr>
          <p:cNvSpPr txBox="1"/>
          <p:nvPr userDrawn="1"/>
        </p:nvSpPr>
        <p:spPr bwMode="gray">
          <a:xfrm>
            <a:off x="6410325" y="5123063"/>
            <a:ext cx="5190379" cy="1052753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37AEB0D2-8A0A-6A92-88C1-6F06D605175C}"/>
              </a:ext>
            </a:extLst>
          </p:cNvPr>
          <p:cNvGrpSpPr/>
          <p:nvPr userDrawn="1"/>
        </p:nvGrpSpPr>
        <p:grpSpPr>
          <a:xfrm>
            <a:off x="5789344" y="5101196"/>
            <a:ext cx="1096486" cy="1096486"/>
            <a:chOff x="828675" y="2082036"/>
            <a:chExt cx="841926" cy="841926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5BEE77C1-5405-1D50-0790-FD7CAD89F48A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091C7400-A9F1-848F-025B-8D4986A418DD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2" name="Text Placeholder 7">
            <a:extLst>
              <a:ext uri="{FF2B5EF4-FFF2-40B4-BE49-F238E27FC236}">
                <a16:creationId xmlns:a16="http://schemas.microsoft.com/office/drawing/2014/main" id="{91FE1542-0906-C992-8D1B-956F3ACAAE3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072738" y="5271506"/>
            <a:ext cx="4364189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3" name="Text Placeholder 7">
            <a:extLst>
              <a:ext uri="{FF2B5EF4-FFF2-40B4-BE49-F238E27FC236}">
                <a16:creationId xmlns:a16="http://schemas.microsoft.com/office/drawing/2014/main" id="{ADD1825B-9331-3181-8C4A-7E23F76D32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072738" y="5638652"/>
            <a:ext cx="4364189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</p:spTree>
    <p:extLst>
      <p:ext uri="{BB962C8B-B14F-4D97-AF65-F5344CB8AC3E}">
        <p14:creationId xmlns:p14="http://schemas.microsoft.com/office/powerpoint/2010/main" val="2877212988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1 Subhead +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B807742E-2C85-584C-8C68-0BF17E41D8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F170C7E-23EA-BE44-95EE-1949C941C8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5EED0C89-665A-F34E-8F1D-EA3C4BB974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676400"/>
            <a:ext cx="3513513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44BC7A2-D5D6-AC42-9C35-F57EF2D7ACA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9244" y="1676400"/>
            <a:ext cx="3513513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29CBD11F-9808-8143-8AD2-5FB7EDD8710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68888" y="1676400"/>
            <a:ext cx="3513513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73991760"/>
      </p:ext>
    </p:extLst>
  </p:cSld>
  <p:clrMapOvr>
    <a:masterClrMapping/>
  </p:clrMapOvr>
  <p:transition>
    <p:fad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Dark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792430F-1DA2-AE53-147B-3A50E7FA141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614178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7062518-DB3B-18EF-19FA-FB98A15F6855}"/>
              </a:ext>
            </a:extLst>
          </p:cNvPr>
          <p:cNvSpPr/>
          <p:nvPr userDrawn="1"/>
        </p:nvSpPr>
        <p:spPr>
          <a:xfrm>
            <a:off x="4315413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74EE9DE-7168-44E2-8163-C88CEA71BE67}"/>
              </a:ext>
            </a:extLst>
          </p:cNvPr>
          <p:cNvSpPr/>
          <p:nvPr userDrawn="1"/>
        </p:nvSpPr>
        <p:spPr>
          <a:xfrm>
            <a:off x="8027069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2BCD1D3-07DC-79B0-9B2D-8973478FC8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AB6833D-6DCD-90CD-0AB2-1B2884BBDA0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452D60B-4DBB-8665-B01A-B81CB8291C1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066800"/>
            <a:ext cx="3574302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3"/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066800"/>
            <a:ext cx="3581574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87000">
                <a:schemeClr val="tx2">
                  <a:lumMod val="50000"/>
                </a:schemeClr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0668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007679B-DCDF-A64B-B0FC-7BE9527C4F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8061418"/>
      </p:ext>
    </p:extLst>
  </p:cSld>
  <p:clrMapOvr>
    <a:masterClrMapping/>
  </p:clrMapOvr>
  <p:transition>
    <p:fad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Dark + 1 Title + 1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792430F-1DA2-AE53-147B-3A50E7FA141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614178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7062518-DB3B-18EF-19FA-FB98A15F6855}"/>
              </a:ext>
            </a:extLst>
          </p:cNvPr>
          <p:cNvSpPr/>
          <p:nvPr userDrawn="1"/>
        </p:nvSpPr>
        <p:spPr>
          <a:xfrm>
            <a:off x="4315413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74EE9DE-7168-44E2-8163-C88CEA71BE67}"/>
              </a:ext>
            </a:extLst>
          </p:cNvPr>
          <p:cNvSpPr/>
          <p:nvPr userDrawn="1"/>
        </p:nvSpPr>
        <p:spPr>
          <a:xfrm>
            <a:off x="8027069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2BCD1D3-07DC-79B0-9B2D-8973478FC8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AB6833D-6DCD-90CD-0AB2-1B2884BBDA0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452D60B-4DBB-8665-B01A-B81CB8291C1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295400"/>
            <a:ext cx="3574302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3"/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295400"/>
            <a:ext cx="3581574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87000">
                <a:schemeClr val="tx2">
                  <a:lumMod val="50000"/>
                </a:schemeClr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2954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2133601"/>
            <a:ext cx="3352800" cy="3886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2133601"/>
            <a:ext cx="3352800" cy="3886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2133601"/>
            <a:ext cx="3352800" cy="3886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C2D19E8A-BABB-6BF4-B716-E947CBF348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F0BA3B4B-CC96-D9B6-F8E5-AAE306CB87D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4813807"/>
      </p:ext>
    </p:extLst>
  </p:cSld>
  <p:clrMapOvr>
    <a:masterClrMapping/>
  </p:clrMapOvr>
  <p:transition>
    <p:fad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Dark + 2 Titles + 1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792430F-1DA2-AE53-147B-3A50E7FA141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614178" y="1905000"/>
            <a:ext cx="3575304" cy="4267200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7062518-DB3B-18EF-19FA-FB98A15F6855}"/>
              </a:ext>
            </a:extLst>
          </p:cNvPr>
          <p:cNvSpPr/>
          <p:nvPr userDrawn="1"/>
        </p:nvSpPr>
        <p:spPr>
          <a:xfrm>
            <a:off x="4315413" y="1905000"/>
            <a:ext cx="3575304" cy="4267200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74EE9DE-7168-44E2-8163-C88CEA71BE67}"/>
              </a:ext>
            </a:extLst>
          </p:cNvPr>
          <p:cNvSpPr/>
          <p:nvPr userDrawn="1"/>
        </p:nvSpPr>
        <p:spPr>
          <a:xfrm>
            <a:off x="8027069" y="1905000"/>
            <a:ext cx="3575304" cy="4267200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2BCD1D3-07DC-79B0-9B2D-8973478FC8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AB6833D-6DCD-90CD-0AB2-1B2884BBDA0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452D60B-4DBB-8665-B01A-B81CB8291C1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676400"/>
            <a:ext cx="3574302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3"/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676400"/>
            <a:ext cx="3581574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87000">
                <a:schemeClr val="tx2">
                  <a:lumMod val="50000"/>
                </a:schemeClr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6764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2514601"/>
            <a:ext cx="3352800" cy="350519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2514601"/>
            <a:ext cx="3352800" cy="350519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2514601"/>
            <a:ext cx="3352800" cy="350519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DB6F6D5-7CBF-8C0B-8573-1B678805D1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61D92359-B00F-9E88-8D99-1D701CC84D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51489117"/>
      </p:ext>
    </p:extLst>
  </p:cSld>
  <p:clrMapOvr>
    <a:masterClrMapping/>
  </p:clrMapOvr>
  <p:transition>
    <p:fade/>
  </p:transition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C284F4C2-51B1-664C-BDDA-A863ACA1A2EB}"/>
              </a:ext>
            </a:extLst>
          </p:cNvPr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5" name="Graphic 4" descr="Open quotation mark with solid fill">
            <a:extLst>
              <a:ext uri="{FF2B5EF4-FFF2-40B4-BE49-F238E27FC236}">
                <a16:creationId xmlns:a16="http://schemas.microsoft.com/office/drawing/2014/main" id="{42D9FF79-FC02-CC54-62F2-2BB18172FC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353425" y="3305175"/>
            <a:ext cx="5076825" cy="5076825"/>
          </a:xfrm>
          <a:prstGeom prst="rect">
            <a:avLst/>
          </a:prstGeom>
        </p:spPr>
      </p:pic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24E33C48-8C5C-A140-A6F5-DEB2EF6004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74800" y="2590402"/>
            <a:ext cx="9177867" cy="1195916"/>
          </a:xfrm>
        </p:spPr>
        <p:txBody>
          <a:bodyPr anchor="b">
            <a:noAutofit/>
          </a:bodyPr>
          <a:lstStyle>
            <a:lvl1pPr marL="0" indent="0" algn="ctr">
              <a:buNone/>
              <a:defRPr sz="3600" b="1" spc="133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This is where have an awesome quote that makes an impac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474524D-2AD9-17DA-D557-85FF846730FD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3B53EB5-DB6D-794F-4CD6-6980B0217695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pic>
        <p:nvPicPr>
          <p:cNvPr id="4" name="Graphic 3" descr="Open quotation mark with solid fill">
            <a:extLst>
              <a:ext uri="{FF2B5EF4-FFF2-40B4-BE49-F238E27FC236}">
                <a16:creationId xmlns:a16="http://schemas.microsoft.com/office/drawing/2014/main" id="{7A37AA9F-44CA-2ABE-B5EE-0177BACE63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247776" y="-1533525"/>
            <a:ext cx="5076825" cy="5076825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861229B-BA06-66C0-A9EB-E3D1B12066A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74800" y="3890303"/>
            <a:ext cx="9177338" cy="740035"/>
          </a:xfrm>
        </p:spPr>
        <p:txBody>
          <a:bodyPr/>
          <a:lstStyle>
            <a:lvl1pPr marL="0" indent="0" algn="ctr">
              <a:buNone/>
              <a:defRPr i="0" spc="600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lvl="0"/>
            <a:r>
              <a:rPr lang="en-US"/>
              <a:t>Name of quote author here</a:t>
            </a:r>
          </a:p>
        </p:txBody>
      </p:sp>
    </p:spTree>
    <p:extLst>
      <p:ext uri="{BB962C8B-B14F-4D97-AF65-F5344CB8AC3E}">
        <p14:creationId xmlns:p14="http://schemas.microsoft.com/office/powerpoint/2010/main" val="1475393996"/>
      </p:ext>
    </p:extLst>
  </p:cSld>
  <p:clrMapOvr>
    <a:masterClrMapping/>
  </p:clrMapOvr>
  <p:transition>
    <p:fade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7BB0B626-AFCA-FF02-B338-E1FDB980FB1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284F4C2-51B1-664C-BDDA-A863ACA1A2EB}"/>
              </a:ext>
            </a:extLst>
          </p:cNvPr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1722916-E6DD-FDD7-9FFA-FAF6555D26E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4FEF0E-877B-6891-74B7-B1F18855CC7D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pic>
        <p:nvPicPr>
          <p:cNvPr id="2" name="Graphic 1" descr="Open quotation mark with solid fill">
            <a:extLst>
              <a:ext uri="{FF2B5EF4-FFF2-40B4-BE49-F238E27FC236}">
                <a16:creationId xmlns:a16="http://schemas.microsoft.com/office/drawing/2014/main" id="{D428AC57-8E8C-1E41-8358-F4CF7DF86A2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8353425" y="3305175"/>
            <a:ext cx="5076825" cy="5076825"/>
          </a:xfrm>
          <a:prstGeom prst="rect">
            <a:avLst/>
          </a:prstGeom>
        </p:spPr>
      </p:pic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258D444-39A7-FB0E-F48C-31C282215F0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1247776" y="-1533525"/>
            <a:ext cx="5076825" cy="5076825"/>
          </a:xfrm>
          <a:prstGeom prst="rect">
            <a:avLst/>
          </a:prstGeom>
        </p:spPr>
      </p:pic>
      <p:sp>
        <p:nvSpPr>
          <p:cNvPr id="5" name="Text Placeholder 17">
            <a:extLst>
              <a:ext uri="{FF2B5EF4-FFF2-40B4-BE49-F238E27FC236}">
                <a16:creationId xmlns:a16="http://schemas.microsoft.com/office/drawing/2014/main" id="{B5BFCE1B-421A-DF96-36C7-2C5C31C579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74800" y="2590402"/>
            <a:ext cx="9177867" cy="1195916"/>
          </a:xfrm>
        </p:spPr>
        <p:txBody>
          <a:bodyPr anchor="b">
            <a:noAutofit/>
          </a:bodyPr>
          <a:lstStyle>
            <a:lvl1pPr marL="0" indent="0" algn="ctr">
              <a:buNone/>
              <a:defRPr sz="3600" b="1" spc="133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This is where have an awesome quote that makes an impact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076E70B7-FAE9-55F2-2E39-1333922B7D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74800" y="3890303"/>
            <a:ext cx="9177338" cy="740035"/>
          </a:xfrm>
        </p:spPr>
        <p:txBody>
          <a:bodyPr/>
          <a:lstStyle>
            <a:lvl1pPr marL="0" indent="0" algn="ctr">
              <a:buNone/>
              <a:defRPr i="0" spc="600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lvl="0"/>
            <a:r>
              <a:rPr lang="en-US"/>
              <a:t>Name of quote author here</a:t>
            </a:r>
          </a:p>
        </p:txBody>
      </p:sp>
    </p:spTree>
    <p:extLst>
      <p:ext uri="{BB962C8B-B14F-4D97-AF65-F5344CB8AC3E}">
        <p14:creationId xmlns:p14="http://schemas.microsoft.com/office/powerpoint/2010/main" val="938746818"/>
      </p:ext>
    </p:extLst>
  </p:cSld>
  <p:clrMapOvr>
    <a:masterClrMapping/>
  </p:clrMapOvr>
  <p:transition>
    <p:fade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dos Slide +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96E172-1C24-BBC1-14BE-9F13E6D71ED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4837" y="1343770"/>
            <a:ext cx="5557423" cy="4906218"/>
          </a:xfr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274320" indent="0" algn="ctr">
              <a:buNone/>
              <a:defRPr>
                <a:solidFill>
                  <a:schemeClr val="bg1"/>
                </a:solidFill>
              </a:defRPr>
            </a:lvl2pPr>
            <a:lvl3pPr marL="548640" indent="0" algn="ctr">
              <a:buNone/>
              <a:defRPr>
                <a:solidFill>
                  <a:schemeClr val="bg1"/>
                </a:solidFill>
              </a:defRPr>
            </a:lvl3pPr>
            <a:lvl4pPr marL="822960" indent="0" algn="ctr">
              <a:buNone/>
              <a:defRPr>
                <a:solidFill>
                  <a:schemeClr val="bg1"/>
                </a:solidFill>
              </a:defRPr>
            </a:lvl4pPr>
            <a:lvl5pPr marL="109728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465D391-63E3-A9A4-3CD9-6061A4DA981C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29170" y="1419598"/>
            <a:ext cx="4754562" cy="4754563"/>
          </a:xfrm>
          <a:prstGeom prst="ellipse">
            <a:avLst/>
          </a:prstGeom>
          <a:solidFill>
            <a:schemeClr val="tx1"/>
          </a:solidFill>
          <a:ln w="31750">
            <a:gradFill>
              <a:gsLst>
                <a:gs pos="0">
                  <a:schemeClr val="accent5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8492ADA-C248-FE1F-4CF3-DBCEA252440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25088" y="2082800"/>
            <a:ext cx="1328737" cy="477838"/>
          </a:xfrm>
        </p:spPr>
        <p:txBody>
          <a:bodyPr anchor="b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61754726"/>
      </p:ext>
    </p:extLst>
  </p:cSld>
  <p:clrMapOvr>
    <a:masterClrMapping/>
  </p:clrMapOvr>
  <p:transition>
    <p:fade/>
  </p:transition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dos Slide +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96E172-1C24-BBC1-14BE-9F13E6D71ED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24978" y="1343770"/>
            <a:ext cx="5557423" cy="4906218"/>
          </a:xfr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274320" indent="0" algn="ctr">
              <a:buNone/>
              <a:defRPr>
                <a:solidFill>
                  <a:schemeClr val="bg1"/>
                </a:solidFill>
              </a:defRPr>
            </a:lvl2pPr>
            <a:lvl3pPr marL="548640" indent="0" algn="ctr">
              <a:buNone/>
              <a:defRPr>
                <a:solidFill>
                  <a:schemeClr val="bg1"/>
                </a:solidFill>
              </a:defRPr>
            </a:lvl3pPr>
            <a:lvl4pPr marL="822960" indent="0" algn="ctr">
              <a:buNone/>
              <a:defRPr>
                <a:solidFill>
                  <a:schemeClr val="bg1"/>
                </a:solidFill>
              </a:defRPr>
            </a:lvl4pPr>
            <a:lvl5pPr marL="109728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465D391-63E3-A9A4-3CD9-6061A4DA981C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09600" y="1419598"/>
            <a:ext cx="4754562" cy="4754563"/>
          </a:xfrm>
          <a:prstGeom prst="ellipse">
            <a:avLst/>
          </a:prstGeom>
          <a:solidFill>
            <a:schemeClr val="tx1"/>
          </a:solidFill>
          <a:ln w="31750">
            <a:gradFill>
              <a:gsLst>
                <a:gs pos="0">
                  <a:schemeClr val="accent5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8492ADA-C248-FE1F-4CF3-DBCEA252440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600" y="2082800"/>
            <a:ext cx="1328737" cy="477838"/>
          </a:xfrm>
        </p:spPr>
        <p:txBody>
          <a:bodyPr anchor="b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75037388"/>
      </p:ext>
    </p:extLst>
  </p:cSld>
  <p:clrMapOvr>
    <a:masterClrMapping/>
  </p:clrMapOvr>
  <p:transition>
    <p:fade/>
  </p:transition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 + Big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3CD3EAC5-F9B1-DF31-E12E-C860B243E5C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3200400"/>
            <a:ext cx="5325533" cy="30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274320" indent="0" algn="ctr">
              <a:buNone/>
              <a:defRPr sz="1400">
                <a:solidFill>
                  <a:schemeClr val="bg1"/>
                </a:solidFill>
              </a:defRPr>
            </a:lvl2pPr>
            <a:lvl3pPr marL="548640" indent="0" algn="ctr">
              <a:buNone/>
              <a:defRPr sz="1200">
                <a:solidFill>
                  <a:schemeClr val="bg1"/>
                </a:solidFill>
              </a:defRPr>
            </a:lvl3pPr>
            <a:lvl4pPr marL="822960" indent="0" algn="ctr">
              <a:buNone/>
              <a:defRPr sz="1100">
                <a:solidFill>
                  <a:schemeClr val="bg1"/>
                </a:solidFill>
              </a:defRPr>
            </a:lvl4pPr>
            <a:lvl5pPr marL="1097280" indent="0" algn="ct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4F7B165-818F-D0D6-E305-31F244D41A7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3200400"/>
            <a:ext cx="5325533" cy="30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274320" indent="0" algn="ctr">
              <a:buNone/>
              <a:defRPr sz="1400">
                <a:solidFill>
                  <a:schemeClr val="bg1"/>
                </a:solidFill>
              </a:defRPr>
            </a:lvl2pPr>
            <a:lvl3pPr marL="548640" indent="0" algn="ctr">
              <a:buNone/>
              <a:defRPr sz="1200">
                <a:solidFill>
                  <a:schemeClr val="bg1"/>
                </a:solidFill>
              </a:defRPr>
            </a:lvl3pPr>
            <a:lvl4pPr marL="822960" indent="0" algn="ctr">
              <a:buNone/>
              <a:defRPr sz="1100">
                <a:solidFill>
                  <a:schemeClr val="bg1"/>
                </a:solidFill>
              </a:defRPr>
            </a:lvl4pPr>
            <a:lvl5pPr marL="1097280" indent="0" algn="ct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9B1B823-60D8-CE46-7517-958CFBCFEFF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600" y="1536192"/>
            <a:ext cx="5326063" cy="1283208"/>
          </a:xfrm>
        </p:spPr>
        <p:txBody>
          <a:bodyPr/>
          <a:lstStyle>
            <a:lvl1pPr marL="0" indent="0" algn="ctr">
              <a:buNone/>
              <a:defRPr sz="10000" b="1" i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0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A1724984-5D7D-D972-7F3E-C5F7F7D38C2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56603" y="1536192"/>
            <a:ext cx="5326063" cy="1283208"/>
          </a:xfrm>
        </p:spPr>
        <p:txBody>
          <a:bodyPr/>
          <a:lstStyle>
            <a:lvl1pPr marL="0" indent="0" algn="ctr">
              <a:buNone/>
              <a:defRPr sz="10000" b="1" i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0</a:t>
            </a:r>
          </a:p>
        </p:txBody>
      </p:sp>
    </p:spTree>
    <p:extLst>
      <p:ext uri="{BB962C8B-B14F-4D97-AF65-F5344CB8AC3E}">
        <p14:creationId xmlns:p14="http://schemas.microsoft.com/office/powerpoint/2010/main" val="4100070492"/>
      </p:ext>
    </p:extLst>
  </p:cSld>
  <p:clrMapOvr>
    <a:masterClrMapping/>
  </p:clrMapOvr>
  <p:transition>
    <p:fade/>
  </p:transition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 + Big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A24E0A52-23E0-05FB-D66B-EC777B13498C}"/>
              </a:ext>
            </a:extLst>
          </p:cNvPr>
          <p:cNvSpPr/>
          <p:nvPr userDrawn="1"/>
        </p:nvSpPr>
        <p:spPr>
          <a:xfrm>
            <a:off x="-3200400" y="1295400"/>
            <a:ext cx="9220200" cy="9220200"/>
          </a:xfrm>
          <a:prstGeom prst="ellipse">
            <a:avLst/>
          </a:prstGeom>
          <a:gradFill>
            <a:gsLst>
              <a:gs pos="99000">
                <a:schemeClr val="accent2"/>
              </a:gs>
              <a:gs pos="0">
                <a:schemeClr val="accent5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4F7B165-818F-D0D6-E305-31F244D41A7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72200" y="2362200"/>
            <a:ext cx="5325533" cy="1905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274320" indent="0" algn="ctr">
              <a:buNone/>
              <a:defRPr sz="1400">
                <a:solidFill>
                  <a:schemeClr val="bg1"/>
                </a:solidFill>
              </a:defRPr>
            </a:lvl2pPr>
            <a:lvl3pPr marL="548640" indent="0" algn="ctr">
              <a:buNone/>
              <a:defRPr sz="1200">
                <a:solidFill>
                  <a:schemeClr val="bg1"/>
                </a:solidFill>
              </a:defRPr>
            </a:lvl3pPr>
            <a:lvl4pPr marL="822960" indent="0" algn="ctr">
              <a:buNone/>
              <a:defRPr sz="1100">
                <a:solidFill>
                  <a:schemeClr val="bg1"/>
                </a:solidFill>
              </a:defRPr>
            </a:lvl4pPr>
            <a:lvl5pPr marL="1097280" indent="0" algn="ct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5791957F-5F46-299A-A09D-E57E20BB811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600" y="2895600"/>
            <a:ext cx="8229600" cy="193104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buNone/>
              <a:defRPr sz="20000" b="1">
                <a:solidFill>
                  <a:schemeClr val="bg1"/>
                </a:solidFill>
              </a:defRPr>
            </a:lvl1pPr>
            <a:lvl2pPr algn="ctr">
              <a:defRPr sz="1400">
                <a:solidFill>
                  <a:schemeClr val="bg1"/>
                </a:solidFill>
              </a:defRPr>
            </a:lvl2pPr>
            <a:lvl3pPr algn="ctr">
              <a:defRPr sz="1200">
                <a:solidFill>
                  <a:schemeClr val="bg1"/>
                </a:solidFill>
              </a:defRPr>
            </a:lvl3pPr>
            <a:lvl4pPr algn="ctr">
              <a:defRPr sz="1100">
                <a:solidFill>
                  <a:schemeClr val="bg1"/>
                </a:solidFill>
              </a:defRPr>
            </a:lvl4pPr>
            <a:lvl5pPr algn="ctr"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00%</a:t>
            </a:r>
          </a:p>
        </p:txBody>
      </p:sp>
    </p:spTree>
    <p:extLst>
      <p:ext uri="{BB962C8B-B14F-4D97-AF65-F5344CB8AC3E}">
        <p14:creationId xmlns:p14="http://schemas.microsoft.com/office/powerpoint/2010/main" val="1661580592"/>
      </p:ext>
    </p:extLst>
  </p:cSld>
  <p:clrMapOvr>
    <a:masterClrMapping/>
  </p:clrMapOvr>
  <p:transition>
    <p:fade/>
  </p:transition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er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2346235-96DC-F047-8AF3-35DB5A5337D7}"/>
              </a:ext>
            </a:extLst>
          </p:cNvPr>
          <p:cNvSpPr/>
          <p:nvPr userDrawn="1"/>
        </p:nvSpPr>
        <p:spPr>
          <a:xfrm>
            <a:off x="1" y="0"/>
            <a:ext cx="12191999" cy="6864626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160431766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2 Subheads +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ADCFE1C-724C-2E42-BC21-E191CF74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AB232D6-8A78-9443-B31B-EA7B3FD22D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143693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7B50E074-638B-DC34-67C8-784D82E6B01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" y="1867654"/>
            <a:ext cx="3511296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D147398C-653C-73A2-B6FE-8541935E7A1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9244" y="1867654"/>
            <a:ext cx="3511296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00868C98-A0A3-7C07-D909-0613FA69945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068888" y="1867654"/>
            <a:ext cx="3511296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46402769"/>
      </p:ext>
    </p:extLst>
  </p:cSld>
  <p:clrMapOvr>
    <a:masterClrMapping/>
  </p:clrMapOvr>
  <p:transition>
    <p:fade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917295756"/>
      </p:ext>
    </p:extLst>
  </p:cSld>
  <p:clrMapOvr>
    <a:masterClrMapping/>
  </p:clrMapOvr>
  <p:transition>
    <p:fade/>
  </p:transition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rry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23F4591-3A53-02BC-4731-0C88ABAFB3B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8000">
                <a:schemeClr val="accent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987618042"/>
      </p:ext>
    </p:extLst>
  </p:cSld>
  <p:clrMapOvr>
    <a:masterClrMapping/>
  </p:clrMapOvr>
  <p:transition>
    <p:fade/>
  </p:transition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er Blue Background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2346235-96DC-F047-8AF3-35DB5A5337D7}"/>
              </a:ext>
            </a:extLst>
          </p:cNvPr>
          <p:cNvSpPr/>
          <p:nvPr userDrawn="1"/>
        </p:nvSpPr>
        <p:spPr>
          <a:xfrm>
            <a:off x="1" y="0"/>
            <a:ext cx="12191999" cy="6864626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07B360F4-EEB8-0A56-E84A-F2F922FB9A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10972801" cy="4918364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>
              <a:defRPr sz="1600">
                <a:solidFill>
                  <a:schemeClr val="bg1"/>
                </a:solidFill>
              </a:defRPr>
            </a:lvl1pPr>
            <a:lvl2pPr marL="457200" indent="-182880">
              <a:spcBef>
                <a:spcPts val="1200"/>
              </a:spcBef>
              <a:defRPr sz="1400">
                <a:solidFill>
                  <a:schemeClr val="bg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bg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bg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33300159"/>
      </p:ext>
    </p:extLst>
  </p:cSld>
  <p:clrMapOvr>
    <a:masterClrMapping/>
  </p:clrMapOvr>
  <p:transition>
    <p:fade/>
  </p:transition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E4651F25-37DE-C32D-E024-5F1D339C70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10972801" cy="4918364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>
              <a:defRPr sz="1600">
                <a:solidFill>
                  <a:schemeClr val="bg1"/>
                </a:solidFill>
              </a:defRPr>
            </a:lvl1pPr>
            <a:lvl2pPr marL="457200" indent="-182880">
              <a:spcBef>
                <a:spcPts val="1200"/>
              </a:spcBef>
              <a:defRPr sz="1400">
                <a:solidFill>
                  <a:schemeClr val="bg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bg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bg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75011481"/>
      </p:ext>
    </p:extLst>
  </p:cSld>
  <p:clrMapOvr>
    <a:masterClrMapping/>
  </p:clrMapOvr>
  <p:transition>
    <p:fade/>
  </p:transition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rry Background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23F4591-3A53-02BC-4731-0C88ABAFB3B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8000">
                <a:schemeClr val="accent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D9D84FF4-9330-F3BA-8C5D-50FC649EBD8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10972801" cy="4918364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>
              <a:defRPr sz="1600">
                <a:solidFill>
                  <a:schemeClr val="bg1"/>
                </a:solidFill>
              </a:defRPr>
            </a:lvl1pPr>
            <a:lvl2pPr marL="457200" indent="-182880">
              <a:spcBef>
                <a:spcPts val="1200"/>
              </a:spcBef>
              <a:defRPr sz="1400">
                <a:solidFill>
                  <a:schemeClr val="bg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bg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bg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81631674"/>
      </p:ext>
    </p:extLst>
  </p:cSld>
  <p:clrMapOvr>
    <a:masterClrMapping/>
  </p:clrMapOvr>
  <p:transition>
    <p:fade/>
  </p:transition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lue Background + 2 Titles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2346235-96DC-F047-8AF3-35DB5A5337D7}"/>
              </a:ext>
            </a:extLst>
          </p:cNvPr>
          <p:cNvSpPr/>
          <p:nvPr userDrawn="1"/>
        </p:nvSpPr>
        <p:spPr>
          <a:xfrm>
            <a:off x="1" y="0"/>
            <a:ext cx="12191999" cy="6864626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9040702C-77D5-B560-2787-B331D250CC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52968979-0A71-8ACF-7727-850E7388C6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E480C892-D281-B5C3-38B9-D8BF5C80FD7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80618"/>
            <a:ext cx="10972801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77505081"/>
      </p:ext>
    </p:extLst>
  </p:cSld>
  <p:clrMapOvr>
    <a:masterClrMapping/>
  </p:clrMapOvr>
  <p:transition>
    <p:fade/>
  </p:transition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 + 2 Titles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9767BD3-AC2B-EDAC-70C7-1239201EC5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04E97780-7865-7A3D-1178-E6D02C0CBB6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9049E63F-7F98-83A7-0AB9-1EDC445EB4A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80618"/>
            <a:ext cx="10972801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88563366"/>
      </p:ext>
    </p:extLst>
  </p:cSld>
  <p:clrMapOvr>
    <a:masterClrMapping/>
  </p:clrMapOvr>
  <p:transition>
    <p:fade/>
  </p:transition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rry Background + 2 Titles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23F4591-3A53-02BC-4731-0C88ABAFB3B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8000">
                <a:schemeClr val="accent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749DC98-ECFA-650A-D053-085675B71F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DCB15AC5-0A49-0F66-BC59-74024579EFA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37FE0F5-4D4D-15C2-2532-C07FA7B1C30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80618"/>
            <a:ext cx="10972801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77795452"/>
      </p:ext>
    </p:extLst>
  </p:cSld>
  <p:clrMapOvr>
    <a:masterClrMapping/>
  </p:clrMapOvr>
  <p:transition>
    <p:fad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t Mockup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FF6C2B9-A5A0-4244-897B-ACB749482872}"/>
              </a:ext>
            </a:extLst>
          </p:cNvPr>
          <p:cNvSpPr/>
          <p:nvPr userDrawn="1"/>
        </p:nvSpPr>
        <p:spPr>
          <a:xfrm>
            <a:off x="-1" y="0"/>
            <a:ext cx="2611891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121719B-4C87-414F-ADAF-F4493E094602}"/>
              </a:ext>
            </a:extLst>
          </p:cNvPr>
          <p:cNvSpPr/>
          <p:nvPr userDrawn="1"/>
        </p:nvSpPr>
        <p:spPr>
          <a:xfrm>
            <a:off x="-1" y="5867400"/>
            <a:ext cx="12192001" cy="990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326135-6F83-124D-917A-CD0F6AC920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20747" y="358909"/>
            <a:ext cx="6161654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E15853B-9D76-FD45-80BC-AB9AB1A932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20747" y="793111"/>
            <a:ext cx="6161654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E65C5A9-95A5-AD4D-8146-1B986E7DC4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6627" y="121782"/>
            <a:ext cx="4953000" cy="6393874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BFA5053-5737-AB44-939C-A63893F8487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78163" y="594360"/>
            <a:ext cx="4114800" cy="546811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0C2E6508-A34A-434F-B7F1-DE1263A8C9F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421409" y="1396017"/>
            <a:ext cx="6160992" cy="4166583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1" name="Picture 2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FE9F5BA-0479-1C45-AB86-EEF7DBFEBEC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C28A167-1EAD-6E6E-297E-4F75177BB61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BEA947E-BEDC-8592-F749-9650C22CAC7F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687584941"/>
      </p:ext>
    </p:extLst>
  </p:cSld>
  <p:clrMapOvr>
    <a:masterClrMapping/>
  </p:clrMapOvr>
  <p:transition>
    <p:fade/>
  </p:transition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t Mockup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FF6C2B9-A5A0-4244-897B-ACB749482872}"/>
              </a:ext>
            </a:extLst>
          </p:cNvPr>
          <p:cNvSpPr/>
          <p:nvPr userDrawn="1"/>
        </p:nvSpPr>
        <p:spPr>
          <a:xfrm rot="10800000">
            <a:off x="9580109" y="0"/>
            <a:ext cx="2611891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121719B-4C87-414F-ADAF-F4493E094602}"/>
              </a:ext>
            </a:extLst>
          </p:cNvPr>
          <p:cNvSpPr/>
          <p:nvPr userDrawn="1"/>
        </p:nvSpPr>
        <p:spPr>
          <a:xfrm>
            <a:off x="-1" y="5867400"/>
            <a:ext cx="12192001" cy="990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326135-6F83-124D-917A-CD0F6AC920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8938" y="358909"/>
            <a:ext cx="6161654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E15853B-9D76-FD45-80BC-AB9AB1A932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8938" y="793111"/>
            <a:ext cx="6161654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E65C5A9-95A5-AD4D-8146-1B986E7DC4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58000" y="121782"/>
            <a:ext cx="4953000" cy="6393874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BFA5053-5737-AB44-939C-A63893F8487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289536" y="594360"/>
            <a:ext cx="4114800" cy="546811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0C2E6508-A34A-434F-B7F1-DE1263A8C9F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396017"/>
            <a:ext cx="6160992" cy="4166583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1" name="Picture 2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FE9F5BA-0479-1C45-AB86-EEF7DBFEBEC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C28A167-1EAD-6E6E-297E-4F75177BB61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BEA947E-BEDC-8592-F749-9650C22CAC7F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73947096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Cover -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E258BDC-E25E-EA4C-A840-892DD4044D2A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34000">
                <a:schemeClr val="accent1"/>
              </a:gs>
              <a:gs pos="100000">
                <a:schemeClr val="accent3"/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4863618A-F2A3-5D4D-92CD-345322830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36999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76611C0-F646-F24B-886D-1FD9929C17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1" y="5358825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Picture 3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AF51551E-56E7-171E-97F0-9BB7224EAD6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1341144"/>
            <a:ext cx="6709834" cy="1148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9095109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head +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AF2D4E68-4F97-3945-BF53-128D9F73D0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F844099-0217-4245-AAC6-FFE1ECF6C9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C606B273-5E4F-184A-B3B0-35245A640A6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1330036"/>
            <a:ext cx="2560320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D98FBF71-FFEA-7347-8614-0BAD488B12C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1330036"/>
            <a:ext cx="2560320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FAB660B1-EE7D-1142-8C46-9D3A7234701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7921" y="1330036"/>
            <a:ext cx="2560320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C0F5AB4E-0207-5E5D-FA01-65DE47FDE9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22081" y="1330036"/>
            <a:ext cx="2560320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33265337"/>
      </p:ext>
    </p:extLst>
  </p:cSld>
  <p:clrMapOvr>
    <a:masterClrMapping/>
  </p:clrMapOvr>
  <p:transition>
    <p:fade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Mockup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FF6C2B9-A5A0-4244-897B-ACB749482872}"/>
              </a:ext>
            </a:extLst>
          </p:cNvPr>
          <p:cNvSpPr/>
          <p:nvPr userDrawn="1"/>
        </p:nvSpPr>
        <p:spPr>
          <a:xfrm>
            <a:off x="-1" y="0"/>
            <a:ext cx="2611893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121719B-4C87-414F-ADAF-F4493E094602}"/>
              </a:ext>
            </a:extLst>
          </p:cNvPr>
          <p:cNvSpPr/>
          <p:nvPr userDrawn="1"/>
        </p:nvSpPr>
        <p:spPr>
          <a:xfrm>
            <a:off x="-1" y="6144767"/>
            <a:ext cx="12192001" cy="71323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326135-6F83-124D-917A-CD0F6AC920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24200" y="358909"/>
            <a:ext cx="8458201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E15853B-9D76-FD45-80BC-AB9AB1A932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24200" y="793111"/>
            <a:ext cx="84582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21" name="Picture 2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FE9F5BA-0479-1C45-AB86-EEF7DBFEBE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E7F4362-9E29-0B4B-840A-E9C17E7CE53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22647" y="854590"/>
            <a:ext cx="8482869" cy="5775137"/>
          </a:xfrm>
          <a:prstGeom prst="rect">
            <a:avLst/>
          </a:prstGeom>
        </p:spPr>
      </p:pic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E1EE149A-D7AD-124E-B56D-4BF9B3AF4A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772399" y="1396016"/>
            <a:ext cx="3810001" cy="4318983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F1D11B7-7698-EB45-8A1F-6F65350E345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58368" y="1524000"/>
            <a:ext cx="6720840" cy="420624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4736932-0A61-0815-2AF8-05E2DADA5A2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7FD2A27-AF48-1EF5-059A-C30BD87B57EB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146416624"/>
      </p:ext>
    </p:extLst>
  </p:cSld>
  <p:clrMapOvr>
    <a:masterClrMapping/>
  </p:clrMapOvr>
  <p:transition>
    <p:fade/>
  </p:transition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Mockup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FF6C2B9-A5A0-4244-897B-ACB749482872}"/>
              </a:ext>
            </a:extLst>
          </p:cNvPr>
          <p:cNvSpPr/>
          <p:nvPr userDrawn="1"/>
        </p:nvSpPr>
        <p:spPr>
          <a:xfrm rot="10800000">
            <a:off x="9580107" y="0"/>
            <a:ext cx="2611893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121719B-4C87-414F-ADAF-F4493E094602}"/>
              </a:ext>
            </a:extLst>
          </p:cNvPr>
          <p:cNvSpPr/>
          <p:nvPr userDrawn="1"/>
        </p:nvSpPr>
        <p:spPr>
          <a:xfrm>
            <a:off x="-1" y="6144767"/>
            <a:ext cx="12192001" cy="71323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326135-6F83-124D-917A-CD0F6AC920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8458201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E15853B-9D76-FD45-80BC-AB9AB1A932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793111"/>
            <a:ext cx="84582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21" name="Picture 2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FE9F5BA-0479-1C45-AB86-EEF7DBFEBE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E7F4362-9E29-0B4B-840A-E9C17E7CE53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86200" y="838200"/>
            <a:ext cx="8482869" cy="5775137"/>
          </a:xfrm>
          <a:prstGeom prst="rect">
            <a:avLst/>
          </a:prstGeom>
        </p:spPr>
      </p:pic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E1EE149A-D7AD-124E-B56D-4BF9B3AF4A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396016"/>
            <a:ext cx="3810001" cy="4318983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F1D11B7-7698-EB45-8A1F-6F65350E345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767215" y="1507610"/>
            <a:ext cx="6720840" cy="420624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4736932-0A61-0815-2AF8-05E2DADA5A2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7FD2A27-AF48-1EF5-059A-C30BD87B57EB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047373214"/>
      </p:ext>
    </p:extLst>
  </p:cSld>
  <p:clrMapOvr>
    <a:masterClrMapping/>
  </p:clrMapOvr>
  <p:transition>
    <p:fade/>
  </p:transition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ackground + Dev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639D6D6-79E5-07CF-75EC-FEF900350504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1600200" y="1447800"/>
            <a:ext cx="6400800" cy="42672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A016D250-85C4-F9DF-2B36-B683BF8DFB02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534400" y="2362200"/>
            <a:ext cx="1524000" cy="32004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D048923F-0227-6A14-AF57-2034EE54D8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4400" y="1346738"/>
            <a:ext cx="7772400" cy="4825462"/>
          </a:xfrm>
          <a:prstGeom prst="rect">
            <a:avLst/>
          </a:prstGeom>
        </p:spPr>
      </p:pic>
      <p:pic>
        <p:nvPicPr>
          <p:cNvPr id="3" name="Picture 2" descr="A black screen with white lines&#10;&#10;Description automatically generated">
            <a:extLst>
              <a:ext uri="{FF2B5EF4-FFF2-40B4-BE49-F238E27FC236}">
                <a16:creationId xmlns:a16="http://schemas.microsoft.com/office/drawing/2014/main" id="{C6836275-4334-F0B4-EF60-FAF6935C121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8200" y="2286000"/>
            <a:ext cx="1700364" cy="335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160398"/>
      </p:ext>
    </p:extLst>
  </p:cSld>
  <p:clrMapOvr>
    <a:masterClrMapping/>
  </p:clrMapOvr>
  <p:transition>
    <p:fade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Wave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blue surface&#10;&#10;Description automatically generated">
            <a:extLst>
              <a:ext uri="{FF2B5EF4-FFF2-40B4-BE49-F238E27FC236}">
                <a16:creationId xmlns:a16="http://schemas.microsoft.com/office/drawing/2014/main" id="{C239EA34-EC10-D4AD-41B2-32DC2ECE4CC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duotone>
              <a:prstClr val="black"/>
              <a:schemeClr val="accent3">
                <a:tint val="45000"/>
                <a:satMod val="400000"/>
              </a:schemeClr>
            </a:duotone>
            <a:alphaModFix amt="3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7000"/>
                    </a14:imgEffect>
                    <a14:imgEffect>
                      <a14:colorTemperature colorTemp="5993"/>
                    </a14:imgEffect>
                    <a14:imgEffect>
                      <a14:saturation sat="160000"/>
                    </a14:imgEffect>
                    <a14:imgEffect>
                      <a14:brightnessContrast bright="-1000" contrast="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45728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64DFFD7-38A6-AD43-A711-AD86331D14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97263" y="2245200"/>
            <a:ext cx="5197475" cy="688975"/>
          </a:xfrm>
        </p:spPr>
        <p:txBody>
          <a:bodyPr anchor="b"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algn="ctr"/>
            <a:r>
              <a:rPr lang="en-US" sz="2400" i="0">
                <a:solidFill>
                  <a:schemeClr val="bg1"/>
                </a:solidFill>
                <a:latin typeface="Arial" panose="020B0604020202020204" pitchFamily="34" charset="0"/>
                <a:ea typeface="+mj-lt"/>
                <a:cs typeface="Arial" panose="020B0604020202020204" pitchFamily="34" charset="0"/>
              </a:rPr>
              <a:t>Divider Slide: Headline Goes Here Headline Goes He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FDF02D-188F-7544-89B9-99DABE88D94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6988" y="3886200"/>
            <a:ext cx="4518025" cy="533400"/>
          </a:xfrm>
        </p:spPr>
        <p:txBody>
          <a:bodyPr/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lvl="0"/>
            <a:r>
              <a:rPr lang="en-US"/>
              <a:t>Subhead goes her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1135782-6BC8-674D-89DB-AFE5E59E4EF5}"/>
              </a:ext>
            </a:extLst>
          </p:cNvPr>
          <p:cNvCxnSpPr>
            <a:cxnSpLocks/>
          </p:cNvCxnSpPr>
          <p:nvPr userDrawn="1"/>
        </p:nvCxnSpPr>
        <p:spPr>
          <a:xfrm flipV="1">
            <a:off x="3837243" y="3427080"/>
            <a:ext cx="4517510" cy="3840"/>
          </a:xfrm>
          <a:prstGeom prst="line">
            <a:avLst/>
          </a:prstGeom>
          <a:ln w="44450">
            <a:gradFill flip="none" rotWithShape="1">
              <a:gsLst>
                <a:gs pos="2000">
                  <a:schemeClr val="accent3"/>
                </a:gs>
                <a:gs pos="84000">
                  <a:schemeClr val="accent2"/>
                </a:gs>
              </a:gsLst>
              <a:lin ang="10800000" scaled="1"/>
              <a:tileRect/>
            </a:gra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0B46827F-5BEF-B5B9-634E-7F970545A2E9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CAC1DA5-A754-7D92-1C8D-2983478194AF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57800853"/>
      </p:ext>
    </p:extLst>
  </p:cSld>
  <p:clrMapOvr>
    <a:masterClrMapping/>
  </p:clrMapOvr>
  <p:transition>
    <p:fade/>
  </p:transition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Globe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planet with lights&#10;&#10;Description automatically generated with medium confidence">
            <a:extLst>
              <a:ext uri="{FF2B5EF4-FFF2-40B4-BE49-F238E27FC236}">
                <a16:creationId xmlns:a16="http://schemas.microsoft.com/office/drawing/2014/main" id="{25CBDD77-5E34-59C2-D236-F0E47DCABF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5000"/>
          </a:blip>
          <a:srcRect l="21250" t="37504" r="21127" b="912"/>
          <a:stretch/>
        </p:blipFill>
        <p:spPr>
          <a:xfrm>
            <a:off x="0" y="-1920"/>
            <a:ext cx="12192000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64DFFD7-38A6-AD43-A711-AD86331D14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97263" y="2245200"/>
            <a:ext cx="5197475" cy="688975"/>
          </a:xfrm>
        </p:spPr>
        <p:txBody>
          <a:bodyPr anchor="b"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algn="ctr"/>
            <a:r>
              <a:rPr lang="en-US" sz="2400" i="0">
                <a:solidFill>
                  <a:schemeClr val="bg1"/>
                </a:solidFill>
                <a:latin typeface="Arial" panose="020B0604020202020204" pitchFamily="34" charset="0"/>
                <a:ea typeface="+mj-lt"/>
                <a:cs typeface="Arial" panose="020B0604020202020204" pitchFamily="34" charset="0"/>
              </a:rPr>
              <a:t>Divider Slide: Headline Goes Here Headline Goes He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FDF02D-188F-7544-89B9-99DABE88D94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6988" y="3886200"/>
            <a:ext cx="4518025" cy="533400"/>
          </a:xfrm>
        </p:spPr>
        <p:txBody>
          <a:bodyPr/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lvl="0"/>
            <a:r>
              <a:rPr lang="en-US"/>
              <a:t>Subhead goes her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1234505-59D7-E147-8DED-E1ECE7143867}"/>
              </a:ext>
            </a:extLst>
          </p:cNvPr>
          <p:cNvCxnSpPr>
            <a:cxnSpLocks/>
          </p:cNvCxnSpPr>
          <p:nvPr userDrawn="1"/>
        </p:nvCxnSpPr>
        <p:spPr>
          <a:xfrm flipV="1">
            <a:off x="3837243" y="3427080"/>
            <a:ext cx="4517510" cy="3840"/>
          </a:xfrm>
          <a:prstGeom prst="line">
            <a:avLst/>
          </a:prstGeom>
          <a:ln w="44450">
            <a:gradFill flip="none" rotWithShape="1">
              <a:gsLst>
                <a:gs pos="2000">
                  <a:schemeClr val="accent3"/>
                </a:gs>
                <a:gs pos="84000">
                  <a:schemeClr val="accent2"/>
                </a:gs>
              </a:gsLst>
              <a:lin ang="10800000" scaled="1"/>
              <a:tileRect/>
            </a:gra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C2643C2E-F4BF-3D5B-6718-BFD4C97EC71D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DA8FC35-70DA-318D-2722-01FA6A813A6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941314120"/>
      </p:ext>
    </p:extLst>
  </p:cSld>
  <p:clrMapOvr>
    <a:masterClrMapping/>
  </p:clrMapOvr>
  <p:transition>
    <p:fade/>
  </p:transition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+ Berry Divider Slide - Right Abstrac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E68ADEE-49A6-774B-B95D-853BD61A8B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 descr="A blue and pink gradient on a black background&#10;&#10;Description automatically generated">
            <a:extLst>
              <a:ext uri="{FF2B5EF4-FFF2-40B4-BE49-F238E27FC236}">
                <a16:creationId xmlns:a16="http://schemas.microsoft.com/office/drawing/2014/main" id="{DEB2BD91-A1A1-658C-905C-59A3E7534D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8027"/>
          <a:stretch/>
        </p:blipFill>
        <p:spPr>
          <a:xfrm>
            <a:off x="3810001" y="1"/>
            <a:ext cx="8382000" cy="6858000"/>
          </a:xfrm>
          <a:prstGeom prst="rect">
            <a:avLst/>
          </a:prstGeom>
          <a:noFill/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53022086"/>
      </p:ext>
    </p:extLst>
  </p:cSld>
  <p:clrMapOvr>
    <a:masterClrMapping/>
  </p:clrMapOvr>
  <p:transition>
    <p:fade/>
  </p:transition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+ Orange Divider Slide - Right Abstrac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8C56740-4267-E738-E594-592735D34F5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-32673" t="19745" r="39188" b="31801"/>
          <a:stretch/>
        </p:blipFill>
        <p:spPr>
          <a:xfrm>
            <a:off x="1" y="1"/>
            <a:ext cx="12192000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913606144"/>
      </p:ext>
    </p:extLst>
  </p:cSld>
  <p:clrMapOvr>
    <a:masterClrMapping/>
  </p:clrMapOvr>
  <p:transition>
    <p:fade/>
  </p:transition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+ Berry Divider Slide - Left Abstrac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E68ADEE-49A6-774B-B95D-853BD61A8B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 descr="A blue and pink gradient on a black background&#10;&#10;Description automatically generated">
            <a:extLst>
              <a:ext uri="{FF2B5EF4-FFF2-40B4-BE49-F238E27FC236}">
                <a16:creationId xmlns:a16="http://schemas.microsoft.com/office/drawing/2014/main" id="{DEB2BD91-A1A1-658C-905C-59A3E7534D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8027"/>
          <a:stretch/>
        </p:blipFill>
        <p:spPr>
          <a:xfrm flipH="1">
            <a:off x="0" y="1"/>
            <a:ext cx="8382000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724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48960159"/>
      </p:ext>
    </p:extLst>
  </p:cSld>
  <p:clrMapOvr>
    <a:masterClrMapping/>
  </p:clrMapOvr>
  <p:transition>
    <p:fade/>
  </p:transition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+ Orange Divider Slide - Left Abstrac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E68ADEE-49A6-774B-B95D-853BD61A8B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9F1D588-B725-8369-4C78-64BA93C685C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-32673" t="19745" r="39188" b="31801"/>
          <a:stretch/>
        </p:blipFill>
        <p:spPr>
          <a:xfrm flipH="1">
            <a:off x="1" y="1"/>
            <a:ext cx="12192000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724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214882180"/>
      </p:ext>
    </p:extLst>
  </p:cSld>
  <p:clrMapOvr>
    <a:masterClrMapping/>
  </p:clrMapOvr>
  <p:transition>
    <p:fade/>
  </p:transition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Picture + BIG Though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6BA68D9-6D70-225F-6EC7-DA3D74526C3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7096125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67DD49D-0F94-7CB9-476B-BEC50F2D6D29}"/>
              </a:ext>
            </a:extLst>
          </p:cNvPr>
          <p:cNvSpPr/>
          <p:nvPr userDrawn="1"/>
        </p:nvSpPr>
        <p:spPr>
          <a:xfrm>
            <a:off x="2963119" y="0"/>
            <a:ext cx="9228881" cy="6858000"/>
          </a:xfrm>
          <a:prstGeom prst="rect">
            <a:avLst/>
          </a:prstGeom>
          <a:gradFill flip="none" rotWithShape="1">
            <a:gsLst>
              <a:gs pos="99000">
                <a:schemeClr val="tx2">
                  <a:alpha val="0"/>
                </a:schemeClr>
              </a:gs>
              <a:gs pos="65000">
                <a:schemeClr val="tx2">
                  <a:lumMod val="5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54430F9-20D0-ACC3-4960-96320FD01C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5375" y="685800"/>
            <a:ext cx="6677027" cy="5486400"/>
          </a:xfrm>
          <a:solidFill>
            <a:srgbClr val="FFFFFF">
              <a:alpha val="63000"/>
            </a:srgbClr>
          </a:solidFill>
        </p:spPr>
        <p:txBody>
          <a:bodyPr rIns="182880" bIns="0" anchor="b"/>
          <a:lstStyle>
            <a:lvl1pPr algn="r">
              <a:defRPr sz="80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algn="r"/>
            <a:r>
              <a:rPr lang="en-US" sz="8500">
                <a:solidFill>
                  <a:schemeClr val="accent1"/>
                </a:solidFill>
                <a:latin typeface="Arial Black" panose="020B0604020202020204" pitchFamily="34" charset="0"/>
              </a:rPr>
              <a:t>Click to edit Master title style</a:t>
            </a:r>
            <a:endParaRPr lang="en-US" sz="8500">
              <a:solidFill>
                <a:schemeClr val="accent1"/>
              </a:solidFill>
              <a:latin typeface="Arial Black" panose="020B0604020202020204" pitchFamily="34" charset="0"/>
              <a:cs typeface="Arial Black" panose="020B0604020202020204" pitchFamily="34" charset="0"/>
            </a:endParaRPr>
          </a:p>
        </p:txBody>
      </p:sp>
      <p:pic>
        <p:nvPicPr>
          <p:cNvPr id="11" name="Picture 1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3B9739E4-0BA8-0AE8-A8C0-36238A05C1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E690C30-3898-378E-A66F-5A36F1BBD248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DE8D5A-ECF1-E703-6E0B-027467729A1D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62124837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2 Subheads +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480D407-E604-3A43-8481-C3DB43C32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27970DF-10CC-3741-9635-618FEBE42D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0271880-925D-5E44-71A5-A0F83CFB8F7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1" y="1524000"/>
            <a:ext cx="2560320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00E9B845-55DD-FBCA-1F19-8002F1E39CD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1524000"/>
            <a:ext cx="2560320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2B435A20-C5EB-C529-2F6D-0EF04D8E94B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7921" y="1524000"/>
            <a:ext cx="2560320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3314A2DA-5DC4-6263-476C-2488B91EDBF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22081" y="1524000"/>
            <a:ext cx="2560320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91588966"/>
      </p:ext>
    </p:extLst>
  </p:cSld>
  <p:clrMapOvr>
    <a:masterClrMapping/>
  </p:clrMapOvr>
  <p:transition>
    <p:fade/>
  </p:transition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9BDE959E-5D72-4F4E-A60E-2CFAD3E9E33F}"/>
              </a:ext>
            </a:extLst>
          </p:cNvPr>
          <p:cNvSpPr/>
          <p:nvPr userDrawn="1"/>
        </p:nvSpPr>
        <p:spPr>
          <a:xfrm>
            <a:off x="0" y="0"/>
            <a:ext cx="4749919" cy="6858000"/>
          </a:xfrm>
          <a:prstGeom prst="rect">
            <a:avLst/>
          </a:prstGeom>
          <a:gradFill flip="none" rotWithShape="1">
            <a:gsLst>
              <a:gs pos="6000">
                <a:schemeClr val="accent3"/>
              </a:gs>
              <a:gs pos="77000">
                <a:schemeClr val="accent1"/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190D422-050F-0C4D-AD83-90157444B514}"/>
              </a:ext>
            </a:extLst>
          </p:cNvPr>
          <p:cNvCxnSpPr>
            <a:cxnSpLocks/>
          </p:cNvCxnSpPr>
          <p:nvPr userDrawn="1"/>
        </p:nvCxnSpPr>
        <p:spPr>
          <a:xfrm flipH="1">
            <a:off x="5409514" y="2534072"/>
            <a:ext cx="5944278" cy="0"/>
          </a:xfrm>
          <a:prstGeom prst="line">
            <a:avLst/>
          </a:prstGeom>
          <a:ln w="63500">
            <a:gradFill>
              <a:gsLst>
                <a:gs pos="0">
                  <a:schemeClr val="tx2"/>
                </a:gs>
                <a:gs pos="99000">
                  <a:schemeClr val="accent3"/>
                </a:gs>
              </a:gsLst>
              <a:lin ang="10800000" scaled="0"/>
            </a:gra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7">
            <a:extLst>
              <a:ext uri="{FF2B5EF4-FFF2-40B4-BE49-F238E27FC236}">
                <a16:creationId xmlns:a16="http://schemas.microsoft.com/office/drawing/2014/main" id="{2EF8EBEF-A81A-6F44-9571-2E29A965A8B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10200" y="1447800"/>
            <a:ext cx="5943600" cy="709833"/>
          </a:xfrm>
        </p:spPr>
        <p:txBody>
          <a:bodyPr anchor="b">
            <a:noAutofit/>
          </a:bodyPr>
          <a:lstStyle>
            <a:lvl1pPr marL="0" indent="0" algn="l">
              <a:buNone/>
              <a:defRPr sz="3200" b="1" spc="133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ontact Us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36478137-00DE-D24D-A10D-BA9931D781A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10200" y="2919285"/>
            <a:ext cx="5943600" cy="529167"/>
          </a:xfr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accent2"/>
                </a:solidFill>
              </a:defRPr>
            </a:lvl2pPr>
            <a:lvl3pPr>
              <a:defRPr b="1">
                <a:solidFill>
                  <a:schemeClr val="accent2"/>
                </a:solidFill>
              </a:defRPr>
            </a:lvl3pPr>
            <a:lvl4pPr>
              <a:defRPr b="1">
                <a:solidFill>
                  <a:schemeClr val="accent2"/>
                </a:solidFill>
              </a:defRPr>
            </a:lvl4pPr>
            <a:lvl5pPr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C84259-0961-3F40-95D0-227C2A52653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409514" y="3448050"/>
            <a:ext cx="5944278" cy="1809750"/>
          </a:xfrm>
        </p:spPr>
        <p:txBody>
          <a:bodyPr/>
          <a:lstStyle>
            <a:lvl1pPr marL="0" indent="0">
              <a:spcBef>
                <a:spcPts val="800"/>
              </a:spcBef>
              <a:buNone/>
              <a:defRPr/>
            </a:lvl1pPr>
          </a:lstStyle>
          <a:p>
            <a:pPr lvl="0"/>
            <a:r>
              <a:rPr lang="en-US"/>
              <a:t>Title</a:t>
            </a:r>
          </a:p>
          <a:p>
            <a:pPr lvl="0"/>
            <a:r>
              <a:rPr lang="en-US"/>
              <a:t>Email</a:t>
            </a:r>
          </a:p>
          <a:p>
            <a:pPr lvl="0"/>
            <a:r>
              <a:rPr lang="en-US"/>
              <a:t>Phone Number</a:t>
            </a:r>
          </a:p>
          <a:p>
            <a:pPr lvl="0"/>
            <a:r>
              <a:rPr lang="en-US" err="1"/>
              <a:t>eversana.com</a:t>
            </a:r>
            <a:endParaRPr lang="en-US"/>
          </a:p>
        </p:txBody>
      </p:sp>
      <p:pic>
        <p:nvPicPr>
          <p:cNvPr id="5" name="Picture 4" descr="A picture containing text, clipart, vector graphics&#10;&#10;Description automatically generated">
            <a:extLst>
              <a:ext uri="{FF2B5EF4-FFF2-40B4-BE49-F238E27FC236}">
                <a16:creationId xmlns:a16="http://schemas.microsoft.com/office/drawing/2014/main" id="{1FBE6703-1F5A-4985-AFCC-4B146911B5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4236" y="2731513"/>
            <a:ext cx="3101447" cy="139497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6E14DF8-2B4D-5FBA-4A05-10B17249473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E2622FE-0312-7C16-8837-E29823A0F74C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284037519"/>
      </p:ext>
    </p:extLst>
  </p:cSld>
  <p:clrMapOvr>
    <a:masterClrMapping/>
  </p:clrMapOvr>
  <p:transition>
    <p:fade/>
  </p:transition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">
    <p:bg>
      <p:bgPr>
        <a:gradFill>
          <a:gsLst>
            <a:gs pos="47000">
              <a:schemeClr val="accent1"/>
            </a:gs>
            <a:gs pos="100000">
              <a:schemeClr val="accent2"/>
            </a:gs>
          </a:gsLst>
          <a:lin ang="4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1ED4F88-DCB6-DDDC-8485-8BF26D736B4E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47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7" name="Picture 2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00594512-246E-4A47-AA41-6CF8E77306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A67BA25F-B066-3D4E-90D9-814BA5420D04}"/>
              </a:ext>
            </a:extLst>
          </p:cNvPr>
          <p:cNvSpPr/>
          <p:nvPr userDrawn="1"/>
        </p:nvSpPr>
        <p:spPr bwMode="gray">
          <a:xfrm>
            <a:off x="3083560" y="2971800"/>
            <a:ext cx="6024881" cy="5754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2698"/>
            <a:r>
              <a:rPr lang="en-US" sz="4800" spc="800">
                <a:solidFill>
                  <a:schemeClr val="bg1"/>
                </a:solidFill>
                <a:latin typeface="Arial"/>
              </a:rPr>
              <a:t>QUESTIONS?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64FDF19-57A0-0F11-B744-37E0013F6209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2654170-F1B9-54C7-C775-4C70A32493AD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48156462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</p:bldLst>
  </p:timing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gradFill>
          <a:gsLst>
            <a:gs pos="47000">
              <a:schemeClr val="accent1"/>
            </a:gs>
            <a:gs pos="100000">
              <a:schemeClr val="accent2"/>
            </a:gs>
          </a:gsLst>
          <a:lin ang="4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B041CFA-6369-68CE-507C-F71CB6D3B007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47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9023174-00C2-E247-8A0D-41254F6772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0B22C79E-4F65-364E-8900-37282F93DB01}"/>
              </a:ext>
            </a:extLst>
          </p:cNvPr>
          <p:cNvSpPr/>
          <p:nvPr userDrawn="1"/>
        </p:nvSpPr>
        <p:spPr bwMode="gray">
          <a:xfrm>
            <a:off x="0" y="2971800"/>
            <a:ext cx="12192000" cy="5754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2698"/>
            <a:r>
              <a:rPr lang="en-US" sz="4800" spc="800">
                <a:solidFill>
                  <a:schemeClr val="bg1"/>
                </a:solidFill>
                <a:latin typeface="Arial"/>
              </a:rPr>
              <a:t>THANK YOU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4007647-2660-268F-40A6-09992F91AFDE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C691D91-A15B-D010-611A-023E2241689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70689518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E258BDC-E25E-EA4C-A840-892DD4044D2A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E8A6E697-9382-C541-9DDB-4B19E7EDBD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8610" r="13944" b="9396"/>
          <a:stretch/>
        </p:blipFill>
        <p:spPr>
          <a:xfrm>
            <a:off x="3826973" y="-1"/>
            <a:ext cx="8365027" cy="685800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206D916-319C-4ECF-89D1-1D11F2A8F64B}"/>
              </a:ext>
            </a:extLst>
          </p:cNvPr>
          <p:cNvSpPr/>
          <p:nvPr userDrawn="1"/>
        </p:nvSpPr>
        <p:spPr bwMode="white">
          <a:xfrm>
            <a:off x="9550400" y="6172200"/>
            <a:ext cx="2235200" cy="685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890CE86-AA99-ED4B-B438-14655C939ED0}"/>
              </a:ext>
            </a:extLst>
          </p:cNvPr>
          <p:cNvSpPr/>
          <p:nvPr userDrawn="1"/>
        </p:nvSpPr>
        <p:spPr>
          <a:xfrm>
            <a:off x="0" y="304800"/>
            <a:ext cx="12192000" cy="6553201"/>
          </a:xfrm>
          <a:prstGeom prst="rect">
            <a:avLst/>
          </a:prstGeom>
          <a:gradFill>
            <a:gsLst>
              <a:gs pos="0">
                <a:schemeClr val="tx2">
                  <a:lumMod val="50000"/>
                  <a:alpha val="0"/>
                </a:schemeClr>
              </a:gs>
              <a:gs pos="70000">
                <a:schemeClr val="tx2">
                  <a:lumMod val="50000"/>
                </a:schemeClr>
              </a:gs>
            </a:gsLst>
            <a:lin ang="54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4863618A-F2A3-5D4D-92CD-345322830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36999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76611C0-F646-F24B-886D-1FD9929C17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1" y="5358825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Picture 2" descr="Text, logo&#10;&#10;Description automatically generated">
            <a:extLst>
              <a:ext uri="{FF2B5EF4-FFF2-40B4-BE49-F238E27FC236}">
                <a16:creationId xmlns:a16="http://schemas.microsoft.com/office/drawing/2014/main" id="{F6B3760A-48B8-4176-B9EB-349133AE98F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09600" y="1371600"/>
            <a:ext cx="6948488" cy="118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9906413"/>
      </p:ext>
    </p:extLst>
  </p:cSld>
  <p:clrMapOvr>
    <a:masterClrMapping/>
  </p:clrMapOvr>
  <p:transition>
    <p:fade/>
  </p:transition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ography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2"/>
          <p:cNvSpPr/>
          <p:nvPr userDrawn="1"/>
        </p:nvSpPr>
        <p:spPr bwMode="gray">
          <a:xfrm>
            <a:off x="0" y="0"/>
            <a:ext cx="4352926" cy="6248399"/>
          </a:xfrm>
          <a:custGeom>
            <a:avLst/>
            <a:gdLst/>
            <a:ahLst/>
            <a:cxnLst/>
            <a:rect l="l" t="t" r="r" b="b"/>
            <a:pathLst>
              <a:path w="5803900" h="8013700">
                <a:moveTo>
                  <a:pt x="0" y="8013700"/>
                </a:moveTo>
                <a:lnTo>
                  <a:pt x="5803900" y="8013700"/>
                </a:lnTo>
                <a:lnTo>
                  <a:pt x="5803900" y="0"/>
                </a:lnTo>
                <a:lnTo>
                  <a:pt x="0" y="0"/>
                </a:lnTo>
                <a:lnTo>
                  <a:pt x="0" y="80137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320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F5BECD3-7F76-4C97-AAB5-3D5797496BC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3468" y="457201"/>
            <a:ext cx="6807200" cy="44836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Biography goes her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FD516F8-E63F-8446-BD1A-F59FFED16F2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59644" y="639980"/>
            <a:ext cx="2433638" cy="2433638"/>
          </a:xfrm>
          <a:prstGeom prst="ellipse">
            <a:avLst/>
          </a:prstGeom>
        </p:spPr>
        <p:txBody>
          <a:bodyPr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D6A39E9-686C-E846-B53F-F14AB674CE3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1332" y="3314410"/>
            <a:ext cx="3352800" cy="6096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304816" indent="0">
              <a:buNone/>
              <a:defRPr sz="2800" b="1">
                <a:solidFill>
                  <a:schemeClr val="bg1"/>
                </a:solidFill>
              </a:defRPr>
            </a:lvl2pPr>
            <a:lvl3pPr marL="671016" indent="0">
              <a:buNone/>
              <a:defRPr sz="2800" b="1">
                <a:solidFill>
                  <a:schemeClr val="bg1"/>
                </a:solidFill>
              </a:defRPr>
            </a:lvl3pPr>
            <a:lvl4pPr marL="1036372" indent="0">
              <a:buNone/>
              <a:defRPr sz="2800" b="1">
                <a:solidFill>
                  <a:schemeClr val="bg1"/>
                </a:solidFill>
              </a:defRPr>
            </a:lvl4pPr>
            <a:lvl5pPr marL="1280224" indent="0">
              <a:buNone/>
              <a:defRPr sz="2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88F6F7CB-3473-384C-974C-103A318948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83468" y="5181603"/>
            <a:ext cx="6807200" cy="77002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400"/>
              </a:spcBef>
              <a:buNone/>
              <a:defRPr sz="1400" b="1">
                <a:solidFill>
                  <a:schemeClr val="tx2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xpertise: Area of Expertise</a:t>
            </a:r>
          </a:p>
          <a:p>
            <a:pPr lvl="0"/>
            <a:r>
              <a:rPr lang="en-US" b="0"/>
              <a:t>List of extra areas/supplemental things</a:t>
            </a: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9657ACBB-8D6C-584F-A1A2-696660BD4A6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1650" y="4820825"/>
            <a:ext cx="3352800" cy="109723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800"/>
              </a:spcBef>
              <a:buNone/>
              <a:defRPr sz="1400" i="1">
                <a:solidFill>
                  <a:schemeClr val="bg1"/>
                </a:solidFill>
              </a:defRPr>
            </a:lvl1pPr>
            <a:lvl2pPr marL="304816" indent="0" algn="ctr">
              <a:buNone/>
              <a:defRPr sz="1400" i="1">
                <a:solidFill>
                  <a:schemeClr val="bg1"/>
                </a:solidFill>
              </a:defRPr>
            </a:lvl2pPr>
            <a:lvl3pPr marL="671016" indent="0" algn="ctr">
              <a:buNone/>
              <a:defRPr sz="1400" i="1">
                <a:solidFill>
                  <a:schemeClr val="bg1"/>
                </a:solidFill>
              </a:defRPr>
            </a:lvl3pPr>
            <a:lvl4pPr marL="1036372" indent="0" algn="ctr">
              <a:buNone/>
              <a:defRPr sz="1400" i="1">
                <a:solidFill>
                  <a:schemeClr val="bg1"/>
                </a:solidFill>
              </a:defRPr>
            </a:lvl4pPr>
            <a:lvl5pPr marL="1280224" indent="0" algn="ctr">
              <a:buNone/>
              <a:defRPr sz="14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redentials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DE0CEEAA-49F8-5144-8A52-675AE3856ED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3929871"/>
            <a:ext cx="3352800" cy="6959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i="0">
                <a:solidFill>
                  <a:schemeClr val="bg1"/>
                </a:solidFill>
              </a:defRPr>
            </a:lvl1pPr>
            <a:lvl2pPr marL="304816" indent="0" algn="ctr">
              <a:buNone/>
              <a:defRPr sz="1400" i="1">
                <a:solidFill>
                  <a:schemeClr val="bg1"/>
                </a:solidFill>
              </a:defRPr>
            </a:lvl2pPr>
            <a:lvl3pPr marL="671016" indent="0" algn="ctr">
              <a:buNone/>
              <a:defRPr sz="1400" i="1">
                <a:solidFill>
                  <a:schemeClr val="bg1"/>
                </a:solidFill>
              </a:defRPr>
            </a:lvl3pPr>
            <a:lvl4pPr marL="1036372" indent="0" algn="ctr">
              <a:buNone/>
              <a:defRPr sz="1400" i="1">
                <a:solidFill>
                  <a:schemeClr val="bg1"/>
                </a:solidFill>
              </a:defRPr>
            </a:lvl4pPr>
            <a:lvl5pPr marL="1280224" indent="0" algn="ctr">
              <a:buNone/>
              <a:defRPr sz="14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F6D61C3-C842-F948-A95B-281786C59835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1" y="6248400"/>
            <a:ext cx="12204165" cy="0"/>
          </a:xfrm>
          <a:prstGeom prst="line">
            <a:avLst/>
          </a:prstGeom>
          <a:ln w="508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logo.png">
            <a:extLst>
              <a:ext uri="{FF2B5EF4-FFF2-40B4-BE49-F238E27FC236}">
                <a16:creationId xmlns:a16="http://schemas.microsoft.com/office/drawing/2014/main" id="{F6770EBD-9E43-0042-B0A7-3ED9E32631A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71"/>
          <a:stretch/>
        </p:blipFill>
        <p:spPr>
          <a:xfrm flipH="1">
            <a:off x="11084" y="2468880"/>
            <a:ext cx="3119081" cy="38050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8204030"/>
      </p:ext>
    </p:extLst>
  </p:cSld>
  <p:clrMapOvr>
    <a:masterClrMapping/>
  </p:clrMapOvr>
  <p:transition>
    <p:fade/>
  </p:transition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Cover - 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E258BDC-E25E-EA4C-A840-892DD4044D2A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47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4863618A-F2A3-5D4D-92CD-345322830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36999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76611C0-F646-F24B-886D-1FD9929C17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1" y="5358825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24C4D6FE-7426-3C77-F2FF-8B33A2AFB83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1341144"/>
            <a:ext cx="6709834" cy="1148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1410922"/>
      </p:ext>
    </p:extLst>
  </p:cSld>
  <p:clrMapOvr>
    <a:masterClrMapping/>
  </p:clrMapOvr>
  <p:transition>
    <p:fade/>
  </p:transition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Cover -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E258BDC-E25E-EA4C-A840-892DD4044D2A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34000">
                <a:schemeClr val="accent1"/>
              </a:gs>
              <a:gs pos="100000">
                <a:schemeClr val="accent3"/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4863618A-F2A3-5D4D-92CD-345322830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36999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76611C0-F646-F24B-886D-1FD9929C17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1" y="5358825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Picture 3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AF51551E-56E7-171E-97F0-9BB7224EAD6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1341144"/>
            <a:ext cx="6709834" cy="1148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0067758"/>
      </p:ext>
    </p:extLst>
  </p:cSld>
  <p:clrMapOvr>
    <a:masterClrMapping/>
  </p:clrMapOvr>
  <p:transition>
    <p:fade/>
  </p:transition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+ Client Cover - 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788272C-F416-AB05-9E56-3837AF264644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47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5269655" y="1778797"/>
            <a:ext cx="1" cy="46995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ACF30A2-7E5B-4506-9CE1-606645C8EA6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420170" y="1116709"/>
            <a:ext cx="3998384" cy="16086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client logo</a:t>
            </a: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AA3DA5AD-B273-674D-A025-EFD62CF74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36999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F9A9321-5F6E-794B-A1FA-CFC44158EC2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1" y="5358825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 descr="Text, logo&#10;&#10;Description automatically generated">
            <a:extLst>
              <a:ext uri="{FF2B5EF4-FFF2-40B4-BE49-F238E27FC236}">
                <a16:creationId xmlns:a16="http://schemas.microsoft.com/office/drawing/2014/main" id="{B14DB16A-B76A-41D4-8E92-479134319E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0939" y="1630081"/>
            <a:ext cx="4482540" cy="767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4110773"/>
      </p:ext>
    </p:extLst>
  </p:cSld>
  <p:clrMapOvr>
    <a:masterClrMapping/>
  </p:clrMapOvr>
  <p:transition>
    <p:fade/>
  </p:transition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+ Client Cover -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F4027B-499F-5D35-5C27-C6E6348CAA94}"/>
              </a:ext>
            </a:extLst>
          </p:cNvPr>
          <p:cNvSpPr/>
          <p:nvPr userDrawn="1"/>
        </p:nvSpPr>
        <p:spPr>
          <a:xfrm rot="16200000" flipH="1">
            <a:off x="4733313" y="-600687"/>
            <a:ext cx="2725376" cy="12192001"/>
          </a:xfrm>
          <a:prstGeom prst="rect">
            <a:avLst/>
          </a:prstGeom>
          <a:gradFill>
            <a:gsLst>
              <a:gs pos="34000">
                <a:schemeClr val="accent1"/>
              </a:gs>
              <a:gs pos="100000">
                <a:schemeClr val="accent3"/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5269655" y="1778797"/>
            <a:ext cx="1" cy="469951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ACF30A2-7E5B-4506-9CE1-606645C8EA6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420170" y="1116709"/>
            <a:ext cx="3998384" cy="16086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client logo</a:t>
            </a: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AA3DA5AD-B273-674D-A025-EFD62CF74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939" y="4343370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F9A9321-5F6E-794B-A1FA-CFC44158EC2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0940" y="5765196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 descr="Text, logo&#10;&#10;Description automatically generated">
            <a:extLst>
              <a:ext uri="{FF2B5EF4-FFF2-40B4-BE49-F238E27FC236}">
                <a16:creationId xmlns:a16="http://schemas.microsoft.com/office/drawing/2014/main" id="{B14DB16A-B76A-41D4-8E92-479134319E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0939" y="1630081"/>
            <a:ext cx="4482540" cy="767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3235662"/>
      </p:ext>
    </p:extLst>
  </p:cSld>
  <p:clrMapOvr>
    <a:masterClrMapping/>
  </p:clrMapOvr>
  <p:transition>
    <p:fade/>
  </p:transition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9BDE959E-5D72-4F4E-A60E-2CFAD3E9E33F}"/>
              </a:ext>
            </a:extLst>
          </p:cNvPr>
          <p:cNvSpPr/>
          <p:nvPr userDrawn="1"/>
        </p:nvSpPr>
        <p:spPr>
          <a:xfrm>
            <a:off x="7442083" y="0"/>
            <a:ext cx="4749917" cy="6858000"/>
          </a:xfrm>
          <a:prstGeom prst="rect">
            <a:avLst/>
          </a:prstGeom>
          <a:gradFill flip="none" rotWithShape="1">
            <a:gsLst>
              <a:gs pos="6000">
                <a:schemeClr val="accent3"/>
              </a:gs>
              <a:gs pos="77000">
                <a:schemeClr val="accent1"/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Picture 31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A475898-BA78-C149-A94E-7C59E87EFF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3" name="Title 1">
            <a:extLst>
              <a:ext uri="{FF2B5EF4-FFF2-40B4-BE49-F238E27FC236}">
                <a16:creationId xmlns:a16="http://schemas.microsoft.com/office/drawing/2014/main" id="{0F49ED40-5755-8C4F-B416-901D3473B8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6203655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03E2F96D-8A61-6D45-8DF6-B2486BDC3A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793111"/>
            <a:ext cx="6203655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2F5237E-9D93-9BD4-E80E-D8914AE7DBE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6203655" cy="4918364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>
              <a:buFont typeface="+mj-lt"/>
              <a:buAutoNum type="arabicPeriod"/>
              <a:defRPr sz="1600">
                <a:solidFill>
                  <a:schemeClr val="tx1"/>
                </a:solidFill>
              </a:defRPr>
            </a:lvl1pPr>
            <a:lvl2pPr marL="617220" indent="-182880">
              <a:spcBef>
                <a:spcPts val="12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822960" indent="-164592">
              <a:spcBef>
                <a:spcPts val="10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188720" indent="-182880">
              <a:spcBef>
                <a:spcPts val="800"/>
              </a:spcBef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1325880" indent="-228600">
              <a:spcBef>
                <a:spcPts val="600"/>
              </a:spcBef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3" name="Picture 2" descr="A picture containing text, clipart, vector graphics&#10;&#10;Description automatically generated">
            <a:extLst>
              <a:ext uri="{FF2B5EF4-FFF2-40B4-BE49-F238E27FC236}">
                <a16:creationId xmlns:a16="http://schemas.microsoft.com/office/drawing/2014/main" id="{1EDB5DD6-7EEC-4352-A329-2F38675262D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5800" y="2751981"/>
            <a:ext cx="3010434" cy="1354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8544819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1 Subhead +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B807742E-2C85-584C-8C68-0BF17E41D8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F170C7E-23EA-BE44-95EE-1949C941C8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50DE363A-FAB2-2C99-CE27-D969FB1CCE0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1" y="1676400"/>
            <a:ext cx="256032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274DF562-3092-ED7C-1CDE-E208789DE00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1676400"/>
            <a:ext cx="256032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F76A703-9561-03A0-A311-6582BCAD9B2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7921" y="1676400"/>
            <a:ext cx="256032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4EBA21F-D512-BDDB-B921-5B43FB6A8E6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22081" y="1676400"/>
            <a:ext cx="256032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41524242"/>
      </p:ext>
    </p:extLst>
  </p:cSld>
  <p:clrMapOvr>
    <a:masterClrMapping/>
  </p:clrMapOvr>
  <p:transition>
    <p:fade/>
  </p:transition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tende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F70C46A5-3A79-284C-8BE0-0721A0BDF9D9}"/>
              </a:ext>
            </a:extLst>
          </p:cNvPr>
          <p:cNvSpPr txBox="1">
            <a:spLocks/>
          </p:cNvSpPr>
          <p:nvPr userDrawn="1"/>
        </p:nvSpPr>
        <p:spPr>
          <a:xfrm>
            <a:off x="609600" y="358909"/>
            <a:ext cx="10972801" cy="40309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0" rIns="0" bIns="0" anchor="t" anchorCtr="0" compatLnSpc="1">
            <a:noAutofit/>
          </a:bodyPr>
          <a:lstStyle>
            <a:lvl1pPr marL="0" marR="0" lvl="0" indent="0" algn="l" defTabSz="1219261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2400" b="1" i="0" u="none" strike="noStrike" kern="1200" cap="none" spc="0" baseline="0">
                <a:solidFill>
                  <a:schemeClr val="tx2"/>
                </a:solidFill>
                <a:uFillTx/>
                <a:latin typeface="+mj-lt"/>
              </a:defRPr>
            </a:lvl1pPr>
          </a:lstStyle>
          <a:p>
            <a:r>
              <a:rPr lang="en-US"/>
              <a:t>Meeting Attende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8D323C1-BCDE-2949-9437-A94EDAD92056}"/>
              </a:ext>
            </a:extLst>
          </p:cNvPr>
          <p:cNvSpPr/>
          <p:nvPr userDrawn="1"/>
        </p:nvSpPr>
        <p:spPr>
          <a:xfrm>
            <a:off x="1" y="1939636"/>
            <a:ext cx="12191999" cy="4918364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FC12D2A2-A662-BB40-8075-EEE4122744C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1" y="2233743"/>
            <a:ext cx="5105399" cy="38622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274320" indent="0">
              <a:spcBef>
                <a:spcPts val="1200"/>
              </a:spcBef>
              <a:buNone/>
              <a:defRPr sz="1400">
                <a:solidFill>
                  <a:schemeClr val="tx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tx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tx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ent’s Attendees Her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C538861E-9480-A947-A1AB-95AF17350D5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7000" y="2233743"/>
            <a:ext cx="5105399" cy="38622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274320" indent="0">
              <a:spcBef>
                <a:spcPts val="1200"/>
              </a:spcBef>
              <a:buNone/>
              <a:defRPr sz="1400">
                <a:solidFill>
                  <a:schemeClr val="tx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tx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tx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VERSANA’s Attendees Here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4A37F3D2-9C1A-754C-967A-68CB0AA226D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15413" y="1209019"/>
            <a:ext cx="4008354" cy="5777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client logo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FEC6CA7-DEDF-3249-8382-F7A86EF63E3D}"/>
              </a:ext>
            </a:extLst>
          </p:cNvPr>
          <p:cNvCxnSpPr>
            <a:cxnSpLocks/>
          </p:cNvCxnSpPr>
          <p:nvPr userDrawn="1"/>
        </p:nvCxnSpPr>
        <p:spPr>
          <a:xfrm>
            <a:off x="6096000" y="2233743"/>
            <a:ext cx="0" cy="3938457"/>
          </a:xfrm>
          <a:prstGeom prst="line">
            <a:avLst/>
          </a:prstGeom>
          <a:ln w="9525" cap="rnd">
            <a:solidFill>
              <a:schemeClr val="bg2"/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Picture 14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59A645CA-F94C-614F-8A2B-85D3056096E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pic>
        <p:nvPicPr>
          <p:cNvPr id="3" name="Picture 2" descr="Text, logo&#10;&#10;Description automatically generated">
            <a:extLst>
              <a:ext uri="{FF2B5EF4-FFF2-40B4-BE49-F238E27FC236}">
                <a16:creationId xmlns:a16="http://schemas.microsoft.com/office/drawing/2014/main" id="{3E45315F-7F09-42BA-815C-792889CDAD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00" y="1213590"/>
            <a:ext cx="3347873" cy="573134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FB073251-2B88-77F1-EBAF-7AD53FCE109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F186BEF-106D-F388-D398-6F0C8037EFBE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263559391"/>
      </p:ext>
    </p:extLst>
  </p:cSld>
  <p:clrMapOvr>
    <a:masterClrMapping/>
  </p:clrMapOvr>
  <p:transition>
    <p:fade/>
  </p:transition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Attendee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F70C46A5-3A79-284C-8BE0-0721A0BDF9D9}"/>
              </a:ext>
            </a:extLst>
          </p:cNvPr>
          <p:cNvSpPr txBox="1">
            <a:spLocks/>
          </p:cNvSpPr>
          <p:nvPr userDrawn="1"/>
        </p:nvSpPr>
        <p:spPr>
          <a:xfrm>
            <a:off x="609600" y="358909"/>
            <a:ext cx="10972801" cy="40309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0" rIns="0" bIns="0" anchor="t" anchorCtr="0" compatLnSpc="1">
            <a:noAutofit/>
          </a:bodyPr>
          <a:lstStyle>
            <a:lvl1pPr marL="0" marR="0" lvl="0" indent="0" algn="l" defTabSz="1219261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2400" b="1" i="0" u="none" strike="noStrike" kern="1200" cap="none" spc="0" baseline="0">
                <a:solidFill>
                  <a:schemeClr val="tx2"/>
                </a:solidFill>
                <a:uFillTx/>
                <a:latin typeface="+mj-lt"/>
              </a:defRPr>
            </a:lvl1pPr>
          </a:lstStyle>
          <a:p>
            <a:r>
              <a:rPr lang="en-US"/>
              <a:t>Meet the EVERSANA team</a:t>
            </a:r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C341B25B-8D85-FBFF-2711-91D6FFD68E0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570848" y="1317413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5B2E2B80-78F2-8F69-9714-CB2EC7D565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3148" y="2612813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79E6359A-1459-6110-9BC0-205BF7EE90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3148" y="2998893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88948C7A-7958-BECC-EEC9-F1C2FE5B38D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176324" y="1317413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F3546E17-6339-06A9-A7DB-3A2355F8952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28624" y="2612813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B7861FAE-FC81-C082-227E-DE1495ACBA1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28624" y="2998893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18579FCC-5849-F2BD-BC0B-BD28EC7D471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781800" y="1317413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Text Placeholder 13">
            <a:extLst>
              <a:ext uri="{FF2B5EF4-FFF2-40B4-BE49-F238E27FC236}">
                <a16:creationId xmlns:a16="http://schemas.microsoft.com/office/drawing/2014/main" id="{08040961-D58B-AD49-A302-918B2D5C6E7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34100" y="2612813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9857015D-201A-C611-AE01-558C028BCA5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34100" y="2998893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1C1F83B-6CE6-E03C-48E0-9B42A2E70EC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387275" y="1317413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2D589C13-8931-DA1C-6C09-E898FE3C255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739575" y="2612813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25" name="Text Placeholder 13">
            <a:extLst>
              <a:ext uri="{FF2B5EF4-FFF2-40B4-BE49-F238E27FC236}">
                <a16:creationId xmlns:a16="http://schemas.microsoft.com/office/drawing/2014/main" id="{568D76B1-7A2A-72DF-C604-CBC14CA7867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739575" y="2998893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58E41E5B-C145-1148-ADBE-A1517AEFF14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570848" y="3733800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7" name="Text Placeholder 13">
            <a:extLst>
              <a:ext uri="{FF2B5EF4-FFF2-40B4-BE49-F238E27FC236}">
                <a16:creationId xmlns:a16="http://schemas.microsoft.com/office/drawing/2014/main" id="{6E177F37-262E-1B1A-729A-E1F35026204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3148" y="5029200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28" name="Text Placeholder 13">
            <a:extLst>
              <a:ext uri="{FF2B5EF4-FFF2-40B4-BE49-F238E27FC236}">
                <a16:creationId xmlns:a16="http://schemas.microsoft.com/office/drawing/2014/main" id="{1B840E57-015F-8EA4-9100-DC37EB74F18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23148" y="5415280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9" name="Picture Placeholder 6">
            <a:extLst>
              <a:ext uri="{FF2B5EF4-FFF2-40B4-BE49-F238E27FC236}">
                <a16:creationId xmlns:a16="http://schemas.microsoft.com/office/drawing/2014/main" id="{987863DE-DBB2-0F7D-7A67-609CE13721D7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176324" y="3733800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0" name="Text Placeholder 13">
            <a:extLst>
              <a:ext uri="{FF2B5EF4-FFF2-40B4-BE49-F238E27FC236}">
                <a16:creationId xmlns:a16="http://schemas.microsoft.com/office/drawing/2014/main" id="{20F93A3D-E31C-02FD-8FDA-B3640B93E0F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528624" y="5029200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31" name="Text Placeholder 13">
            <a:extLst>
              <a:ext uri="{FF2B5EF4-FFF2-40B4-BE49-F238E27FC236}">
                <a16:creationId xmlns:a16="http://schemas.microsoft.com/office/drawing/2014/main" id="{04A8C5AE-8B23-0E34-0D8A-D7E80EF9605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28624" y="5415280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2" name="Picture Placeholder 6">
            <a:extLst>
              <a:ext uri="{FF2B5EF4-FFF2-40B4-BE49-F238E27FC236}">
                <a16:creationId xmlns:a16="http://schemas.microsoft.com/office/drawing/2014/main" id="{2966E0EE-61B5-21A2-FE15-D0967C9A3D94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781800" y="3733800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3" name="Text Placeholder 13">
            <a:extLst>
              <a:ext uri="{FF2B5EF4-FFF2-40B4-BE49-F238E27FC236}">
                <a16:creationId xmlns:a16="http://schemas.microsoft.com/office/drawing/2014/main" id="{D0D2FDD1-A643-4412-79DA-6CAF10FCA51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34100" y="5029200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34" name="Text Placeholder 13">
            <a:extLst>
              <a:ext uri="{FF2B5EF4-FFF2-40B4-BE49-F238E27FC236}">
                <a16:creationId xmlns:a16="http://schemas.microsoft.com/office/drawing/2014/main" id="{BD828871-3B60-39AB-AE64-6E871003D17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34100" y="5415280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C044CB42-E1E9-241E-AA37-73C8EB4D13F1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9387275" y="3733800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6" name="Text Placeholder 13">
            <a:extLst>
              <a:ext uri="{FF2B5EF4-FFF2-40B4-BE49-F238E27FC236}">
                <a16:creationId xmlns:a16="http://schemas.microsoft.com/office/drawing/2014/main" id="{E79D4777-F3AA-74AF-81C9-7EA92FCB376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739575" y="5029200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37" name="Text Placeholder 13">
            <a:extLst>
              <a:ext uri="{FF2B5EF4-FFF2-40B4-BE49-F238E27FC236}">
                <a16:creationId xmlns:a16="http://schemas.microsoft.com/office/drawing/2014/main" id="{88A5F17C-BEBB-412A-3B04-9B8DC1F0A42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739575" y="5415280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195280337"/>
      </p:ext>
    </p:extLst>
  </p:cSld>
  <p:clrMapOvr>
    <a:masterClrMapping/>
  </p:clrMapOvr>
  <p:transition>
    <p:fade/>
  </p:transition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head +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EA111C91-5070-BE46-8A91-DA793065A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8C25884-10FE-2441-8B12-F88C370D627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10972801" cy="4918364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>
              <a:defRPr sz="1600">
                <a:solidFill>
                  <a:schemeClr val="tx1"/>
                </a:solidFill>
              </a:defRPr>
            </a:lvl1pPr>
            <a:lvl2pPr marL="457200" indent="-182880">
              <a:spcBef>
                <a:spcPts val="1200"/>
              </a:spcBef>
              <a:defRPr sz="1400">
                <a:solidFill>
                  <a:schemeClr val="tx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tx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tx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10F5692F-18B9-AC42-9F9C-2EE1F589180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89198321"/>
      </p:ext>
    </p:extLst>
  </p:cSld>
  <p:clrMapOvr>
    <a:masterClrMapping/>
  </p:clrMapOvr>
  <p:transition>
    <p:fade/>
  </p:transition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2 Subheads +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480D407-E604-3A43-8481-C3DB43C32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27970DF-10CC-3741-9635-618FEBE42D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66655478-E77A-D440-9C5A-2FA5665FD4D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517072"/>
            <a:ext cx="10972801" cy="473132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98219517"/>
      </p:ext>
    </p:extLst>
  </p:cSld>
  <p:clrMapOvr>
    <a:masterClrMapping/>
  </p:clrMapOvr>
  <p:transition>
    <p:fade/>
  </p:transition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1 Subhead +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E742DDA-5D37-CD4E-9476-2626AFEB55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1ECEC39D-53B2-4245-88F5-20EF326C59C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8E12FFD-47DC-6D4E-B635-5FD7641C547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80618"/>
            <a:ext cx="10972801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35861416"/>
      </p:ext>
    </p:extLst>
  </p:cSld>
  <p:clrMapOvr>
    <a:masterClrMapping/>
  </p:clrMapOvr>
  <p:transition>
    <p:fade/>
  </p:transition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2 Subheads +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ADCFE1C-724C-2E42-BC21-E191CF74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4EFD65-FBA7-D248-A060-6EA62D2FD61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867654"/>
            <a:ext cx="10972801" cy="438074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AB232D6-8A78-9443-B31B-EA7B3FD22D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143693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65891932"/>
      </p:ext>
    </p:extLst>
  </p:cSld>
  <p:clrMapOvr>
    <a:masterClrMapping/>
  </p:clrMapOvr>
  <p:transition>
    <p:fade/>
  </p:transition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head +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998C5B4B-9F76-954C-89FC-0B8684B55E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C7A408EC-F807-C043-A89C-5DAA288BA3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4F1A922C-39AD-D146-9A8E-1E8003F6E50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330036"/>
            <a:ext cx="532553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7D5F51E-2E9D-A84B-8F7E-C5AC24168FF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1330036"/>
            <a:ext cx="532553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9068026"/>
      </p:ext>
    </p:extLst>
  </p:cSld>
  <p:clrMapOvr>
    <a:masterClrMapping/>
  </p:clrMapOvr>
  <p:transition>
    <p:fade/>
  </p:transition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2 Subheads +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480D407-E604-3A43-8481-C3DB43C32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27970DF-10CC-3741-9635-618FEBE42D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BBEBC014-A2DE-A701-DCF0-3B983D0CBEE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524000"/>
            <a:ext cx="532553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9DCD6D3-CB3D-1DE7-A760-E8B57EDF004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1524000"/>
            <a:ext cx="532553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63455310"/>
      </p:ext>
    </p:extLst>
  </p:cSld>
  <p:clrMapOvr>
    <a:masterClrMapping/>
  </p:clrMapOvr>
  <p:transition>
    <p:fade/>
  </p:transition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1 Subhead +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0D507A1-E9A6-6547-BCD0-6B14770E62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E3C8539-2105-A14C-8AB9-412291086C7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362164AA-08E3-AA4C-98E3-E7F4EB9D76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680618"/>
            <a:ext cx="5325533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821B5C41-E579-BA49-AC96-D9A348941C9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1680618"/>
            <a:ext cx="5325533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3323860"/>
      </p:ext>
    </p:extLst>
  </p:cSld>
  <p:clrMapOvr>
    <a:masterClrMapping/>
  </p:clrMapOvr>
  <p:transition>
    <p:fade/>
  </p:transition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2 Subheads +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ADCFE1C-724C-2E42-BC21-E191CF74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AB232D6-8A78-9443-B31B-EA7B3FD22D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143693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EA7698F4-4722-6480-4745-FF7E99432AA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867654"/>
            <a:ext cx="5321808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03EE18E-4562-4BAB-8D6A-E7809610968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1867654"/>
            <a:ext cx="5321808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3407780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2 Subheads +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ADCFE1C-724C-2E42-BC21-E191CF74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AB232D6-8A78-9443-B31B-EA7B3FD22D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143693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BC85517A-99C0-1BA3-0880-A397B760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1867654"/>
            <a:ext cx="2560320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67AD6A6F-6A93-4066-F271-E9EA4F570F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413761" y="1867654"/>
            <a:ext cx="2560320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ED57A890-09E3-D78C-C469-5EAF0485803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17921" y="1867654"/>
            <a:ext cx="2560320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5D405E1D-3FEF-2E9A-D8D7-17531A97C91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022081" y="1867654"/>
            <a:ext cx="2560320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63334529"/>
      </p:ext>
    </p:extLst>
  </p:cSld>
  <p:clrMapOvr>
    <a:masterClrMapping/>
  </p:clrMapOvr>
  <p:transition>
    <p:fade/>
  </p:transition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head +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AF2D4E68-4F97-3945-BF53-128D9F73D0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F844099-0217-4245-AAC6-FFE1ECF6C9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C606B273-5E4F-184A-B3B0-35245A640A6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330036"/>
            <a:ext cx="351351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D98FBF71-FFEA-7347-8614-0BAD488B12C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9244" y="1330036"/>
            <a:ext cx="351351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FAB660B1-EE7D-1142-8C46-9D3A7234701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68888" y="1330036"/>
            <a:ext cx="351351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75944854"/>
      </p:ext>
    </p:extLst>
  </p:cSld>
  <p:clrMapOvr>
    <a:masterClrMapping/>
  </p:clrMapOvr>
  <p:transition>
    <p:fade/>
  </p:transition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2 Subheads +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480D407-E604-3A43-8481-C3DB43C32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27970DF-10CC-3741-9635-618FEBE42D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F09033BB-ABAE-494B-7612-2BD4B5E0C1A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524000"/>
            <a:ext cx="351351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037BB706-4FA2-672F-5B74-75EF80BC6D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9244" y="1524000"/>
            <a:ext cx="351351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7F5315FB-3F54-7F5A-F77E-11F8019AED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68888" y="1524000"/>
            <a:ext cx="351351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36185815"/>
      </p:ext>
    </p:extLst>
  </p:cSld>
  <p:clrMapOvr>
    <a:masterClrMapping/>
  </p:clrMapOvr>
  <p:transition>
    <p:fade/>
  </p:transition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1 Subhead +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B807742E-2C85-584C-8C68-0BF17E41D8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F170C7E-23EA-BE44-95EE-1949C941C8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5EED0C89-665A-F34E-8F1D-EA3C4BB974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676400"/>
            <a:ext cx="3513513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44BC7A2-D5D6-AC42-9C35-F57EF2D7ACA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9244" y="1676400"/>
            <a:ext cx="3513513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29CBD11F-9808-8143-8AD2-5FB7EDD8710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68888" y="1676400"/>
            <a:ext cx="3513513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01522882"/>
      </p:ext>
    </p:extLst>
  </p:cSld>
  <p:clrMapOvr>
    <a:masterClrMapping/>
  </p:clrMapOvr>
  <p:transition>
    <p:fade/>
  </p:transition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2 Subheads +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ADCFE1C-724C-2E42-BC21-E191CF74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AB232D6-8A78-9443-B31B-EA7B3FD22D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143693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7B50E074-638B-DC34-67C8-784D82E6B01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" y="1867654"/>
            <a:ext cx="3511296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D147398C-653C-73A2-B6FE-8541935E7A1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9244" y="1867654"/>
            <a:ext cx="3511296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00868C98-A0A3-7C07-D909-0613FA69945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068888" y="1867654"/>
            <a:ext cx="3511296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63345075"/>
      </p:ext>
    </p:extLst>
  </p:cSld>
  <p:clrMapOvr>
    <a:masterClrMapping/>
  </p:clrMapOvr>
  <p:transition>
    <p:fade/>
  </p:transition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head +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AF2D4E68-4F97-3945-BF53-128D9F73D0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F844099-0217-4245-AAC6-FFE1ECF6C9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C606B273-5E4F-184A-B3B0-35245A640A6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1330036"/>
            <a:ext cx="2560320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D98FBF71-FFEA-7347-8614-0BAD488B12C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1330036"/>
            <a:ext cx="2560320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FAB660B1-EE7D-1142-8C46-9D3A7234701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7921" y="1330036"/>
            <a:ext cx="2560320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C0F5AB4E-0207-5E5D-FA01-65DE47FDE9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22081" y="1330036"/>
            <a:ext cx="2560320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95396676"/>
      </p:ext>
    </p:extLst>
  </p:cSld>
  <p:clrMapOvr>
    <a:masterClrMapping/>
  </p:clrMapOvr>
  <p:transition>
    <p:fade/>
  </p:transition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2 Subheads +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480D407-E604-3A43-8481-C3DB43C32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27970DF-10CC-3741-9635-618FEBE42D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0271880-925D-5E44-71A5-A0F83CFB8F7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1" y="1524000"/>
            <a:ext cx="2560320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00E9B845-55DD-FBCA-1F19-8002F1E39CD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1524000"/>
            <a:ext cx="2560320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2B435A20-C5EB-C529-2F6D-0EF04D8E94B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7921" y="1524000"/>
            <a:ext cx="2560320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3314A2DA-5DC4-6263-476C-2488B91EDBF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22081" y="1524000"/>
            <a:ext cx="2560320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09645019"/>
      </p:ext>
    </p:extLst>
  </p:cSld>
  <p:clrMapOvr>
    <a:masterClrMapping/>
  </p:clrMapOvr>
  <p:transition>
    <p:fade/>
  </p:transition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1 Subhead +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B807742E-2C85-584C-8C68-0BF17E41D8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F170C7E-23EA-BE44-95EE-1949C941C8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50DE363A-FAB2-2C99-CE27-D969FB1CCE0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1" y="1676400"/>
            <a:ext cx="256032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274DF562-3092-ED7C-1CDE-E208789DE00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1676400"/>
            <a:ext cx="256032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F76A703-9561-03A0-A311-6582BCAD9B2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7921" y="1676400"/>
            <a:ext cx="256032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4EBA21F-D512-BDDB-B921-5B43FB6A8E6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22081" y="1676400"/>
            <a:ext cx="256032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25902069"/>
      </p:ext>
    </p:extLst>
  </p:cSld>
  <p:clrMapOvr>
    <a:masterClrMapping/>
  </p:clrMapOvr>
  <p:transition>
    <p:fade/>
  </p:transition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2 Subheads +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ADCFE1C-724C-2E42-BC21-E191CF74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AB232D6-8A78-9443-B31B-EA7B3FD22D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143693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BC85517A-99C0-1BA3-0880-A397B760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1867654"/>
            <a:ext cx="2560320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67AD6A6F-6A93-4066-F271-E9EA4F570F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413761" y="1867654"/>
            <a:ext cx="2560320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ED57A890-09E3-D78C-C469-5EAF0485803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17921" y="1867654"/>
            <a:ext cx="2560320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5D405E1D-3FEF-2E9A-D8D7-17531A97C91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022081" y="1867654"/>
            <a:ext cx="2560320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44820088"/>
      </p:ext>
    </p:extLst>
  </p:cSld>
  <p:clrMapOvr>
    <a:masterClrMapping/>
  </p:clrMapOvr>
  <p:transition>
    <p:fade/>
  </p:transition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0" y="1295400"/>
            <a:ext cx="5185833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70916" y="1302808"/>
            <a:ext cx="5185833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56E5016-53D2-6044-A287-690339B6BE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2390827-CF38-6C46-A1C3-09BC7ACCD29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1" y="2133600"/>
            <a:ext cx="5167672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BA21A48-BA6B-C247-92A3-98B11DB895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386946" y="2133600"/>
            <a:ext cx="5199671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80682749"/>
      </p:ext>
    </p:extLst>
  </p:cSld>
  <p:clrMapOvr>
    <a:masterClrMapping/>
  </p:clrMapOvr>
  <p:transition>
    <p:fade/>
  </p:transition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1" y="12954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51438" y="12954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56E5016-53D2-6044-A287-690339B6BE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2390827-CF38-6C46-A1C3-09BC7ACCD29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1" y="2133600"/>
            <a:ext cx="3458809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BA21A48-BA6B-C247-92A3-98B11DB895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45179" y="2133600"/>
            <a:ext cx="3480226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0D286B6E-F0ED-C181-EB6E-CAE3B25C35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11437" y="12954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C7EFFA10-A1F8-7FAF-6033-74B5E6B8EC5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02175" y="2133600"/>
            <a:ext cx="3480226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72176431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0" y="1295400"/>
            <a:ext cx="5185833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70916" y="1302808"/>
            <a:ext cx="5185833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56E5016-53D2-6044-A287-690339B6BE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2390827-CF38-6C46-A1C3-09BC7ACCD29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1" y="2133600"/>
            <a:ext cx="5167672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BA21A48-BA6B-C247-92A3-98B11DB895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386946" y="2133600"/>
            <a:ext cx="5199671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89722560"/>
      </p:ext>
    </p:extLst>
  </p:cSld>
  <p:clrMapOvr>
    <a:masterClrMapping/>
  </p:clrMapOvr>
  <p:transition>
    <p:fade/>
  </p:transition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1" y="12954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413761" y="12954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56E5016-53D2-6044-A287-690339B6BE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0D286B6E-F0ED-C181-EB6E-CAE3B25C35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17921" y="12954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B454773C-5237-707C-2ECC-9562D3E238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2133600"/>
            <a:ext cx="2560320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7E4A861E-25C6-853A-D997-A484F11EE32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2133600"/>
            <a:ext cx="2560320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4574AF9B-1F20-45A1-D721-A6C1AA42C8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17921" y="2133600"/>
            <a:ext cx="2560320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B087AF7D-7916-1152-7183-48D455B2FDA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22082" y="2133600"/>
            <a:ext cx="2560320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D88856CB-8952-C891-1783-D6F3DC60CC8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22082" y="12954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99936214"/>
      </p:ext>
    </p:extLst>
  </p:cSld>
  <p:clrMapOvr>
    <a:masterClrMapping/>
  </p:clrMapOvr>
  <p:transition>
    <p:fade/>
  </p:transition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mparison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1439" y="1066800"/>
            <a:ext cx="5185833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70916" y="1066800"/>
            <a:ext cx="5185833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2390827-CF38-6C46-A1C3-09BC7ACCD29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1" y="1905000"/>
            <a:ext cx="5167672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BA21A48-BA6B-C247-92A3-98B11DB895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386946" y="1905000"/>
            <a:ext cx="5199671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78742503"/>
      </p:ext>
    </p:extLst>
  </p:cSld>
  <p:clrMapOvr>
    <a:masterClrMapping/>
  </p:clrMapOvr>
  <p:transition>
    <p:fade/>
  </p:transition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omparison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1440" y="10668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51438" y="10668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2390827-CF38-6C46-A1C3-09BC7ACCD29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1" y="1905000"/>
            <a:ext cx="3458809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BA21A48-BA6B-C247-92A3-98B11DB895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45179" y="1905000"/>
            <a:ext cx="3480226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0D286B6E-F0ED-C181-EB6E-CAE3B25C35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11437" y="10668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C7EFFA10-A1F8-7FAF-6033-74B5E6B8EC5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02175" y="1905000"/>
            <a:ext cx="3480226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2685472"/>
      </p:ext>
    </p:extLst>
  </p:cSld>
  <p:clrMapOvr>
    <a:masterClrMapping/>
  </p:clrMapOvr>
  <p:transition>
    <p:fade/>
  </p:transition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Comparison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3BBC54F1-CEE7-F322-F234-98B55DBECC6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09601" y="10668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5CFCA830-6ACA-2308-1A1B-A7B660A713D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413761" y="10668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44F4CBB1-D6CF-C2E6-8BE4-60FD4D4CD9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17921" y="10668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3986C5C2-74FD-7C69-E621-58FDE74971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1905000"/>
            <a:ext cx="2560320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D1759EBB-330C-546E-7E80-96C72430CEB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1905000"/>
            <a:ext cx="2560320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D59D130-DC7B-1E61-0288-DE244774675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17921" y="1905000"/>
            <a:ext cx="2560320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AFD41E4-81DC-114B-66E1-18D4FCF693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22082" y="1905000"/>
            <a:ext cx="2560320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E7CF578-0237-5A47-94FB-47799206FE4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22082" y="10668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6228360"/>
      </p:ext>
    </p:extLst>
  </p:cSld>
  <p:clrMapOvr>
    <a:masterClrMapping/>
  </p:clrMapOvr>
  <p:transition>
    <p:fade/>
  </p:transition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cons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829DBB59-536C-AD41-8966-3DEC3D15994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711113" y="1641475"/>
            <a:ext cx="1479550" cy="1479550"/>
          </a:xfrm>
          <a:prstGeom prst="ellipse">
            <a:avLst/>
          </a:prstGeom>
          <a:gradFill>
            <a:gsLst>
              <a:gs pos="8000">
                <a:schemeClr val="tx2"/>
              </a:gs>
              <a:gs pos="100000">
                <a:schemeClr val="accent3"/>
              </a:gs>
            </a:gsLst>
            <a:path path="circle">
              <a:fillToRect l="100000" t="100000"/>
            </a:path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8FBC8B9B-C6AC-7342-918F-C8BFE651B0A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5354138" y="1641475"/>
            <a:ext cx="1479550" cy="1479550"/>
          </a:xfrm>
          <a:prstGeom prst="ellipse">
            <a:avLst/>
          </a:prstGeom>
          <a:gradFill flip="none" rotWithShape="1">
            <a:gsLst>
              <a:gs pos="8000">
                <a:schemeClr val="tx2"/>
              </a:gs>
              <a:gs pos="100000">
                <a:schemeClr val="accent3"/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49661A0-0D31-DB46-A6BF-AF0B400BB3D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2003425" y="1641475"/>
            <a:ext cx="1479550" cy="1479550"/>
          </a:xfrm>
          <a:prstGeom prst="ellipse">
            <a:avLst/>
          </a:prstGeom>
          <a:gradFill>
            <a:gsLst>
              <a:gs pos="8000">
                <a:schemeClr val="tx2"/>
              </a:gs>
              <a:gs pos="100000">
                <a:schemeClr val="accent3"/>
              </a:gs>
            </a:gsLst>
            <a:path path="circle">
              <a:fillToRect l="100000" t="100000"/>
            </a:path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6662A63-9812-4216-B3CD-AF5EA9A59D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75201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A3B5F99-C322-4FA5-9845-E33F70AAC0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28000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4CFCBFC-A2CC-4BC6-8876-99FC2869D1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22400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D4B7AE-53A8-49D3-B515-48B51CA507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422400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D41FF3-FBE3-4278-9A28-B609FBF7A0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75201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A7AF931-B64A-4B5C-B20A-CD425D1F5F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28000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2623D44-8E8D-5F42-AEAD-98694EB779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2A2606BE-91C7-5A42-A12B-6AD91DD250E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68192002"/>
      </p:ext>
    </p:extLst>
  </p:cSld>
  <p:clrMapOvr>
    <a:masterClrMapping/>
  </p:clrMapOvr>
  <p:transition>
    <p:fade/>
  </p:transition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cons -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1272D79-97CF-C6E2-579A-7F02654530E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829DBB59-536C-AD41-8966-3DEC3D15994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711113" y="1641475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8FBC8B9B-C6AC-7342-918F-C8BFE651B0A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5354138" y="1641475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49661A0-0D31-DB46-A6BF-AF0B400BB3D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2003425" y="1641475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6662A63-9812-4216-B3CD-AF5EA9A59D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75201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A3B5F99-C322-4FA5-9845-E33F70AAC0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28000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4CFCBFC-A2CC-4BC6-8876-99FC2869D1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22400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D4B7AE-53A8-49D3-B515-48B51CA507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422400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D41FF3-FBE3-4278-9A28-B609FBF7A0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75201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A7AF931-B64A-4B5C-B20A-CD425D1F5F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28000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2623D44-8E8D-5F42-AEAD-98694EB779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2A2606BE-91C7-5A42-A12B-6AD91DD250E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Picture 5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D8A6C9D8-8609-111E-6490-BEC47A256C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D7A943A-C0C8-A899-2327-9C6BEA0FF95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5A70755-217E-581B-95D9-C8B8EF2A834A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682873603"/>
      </p:ext>
    </p:extLst>
  </p:cSld>
  <p:clrMapOvr>
    <a:masterClrMapping/>
  </p:clrMapOvr>
  <p:transition>
    <p:fade/>
  </p:transition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cons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94C423CD-F55C-AD48-84C5-9E5DE00D6A23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105165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09DF0BDD-42C8-764F-AE1A-C8633F89B744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3942310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FE83D91D-20BC-F048-A5F9-6BA6FD9E1C7C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6798244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Content Placeholder 4">
            <a:extLst>
              <a:ext uri="{FF2B5EF4-FFF2-40B4-BE49-F238E27FC236}">
                <a16:creationId xmlns:a16="http://schemas.microsoft.com/office/drawing/2014/main" id="{7A1D28A5-46EB-B64F-A151-512BCFEB1A6D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616600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6662A63-9812-4216-B3CD-AF5EA9A59D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63935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A3B5F99-C322-4FA5-9845-E33F70AAC0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5336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4CFCBFC-A2CC-4BC6-8876-99FC2869D1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2534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D4B7AE-53A8-49D3-B515-48B51CA507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2534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D41FF3-FBE3-4278-9A28-B609FBF7A0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63935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A7AF931-B64A-4B5C-B20A-CD425D1F5F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05336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2166374B-8CA1-4E4D-897F-9F57A99003F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123291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7DF32699-CF78-B142-B55A-592854F65E5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123291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EF993BF1-E47B-0543-82C5-D28232ADC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9EF67E38-439D-DA4E-8481-544978A4B9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99901144"/>
      </p:ext>
    </p:extLst>
  </p:cSld>
  <p:clrMapOvr>
    <a:masterClrMapping/>
  </p:clrMapOvr>
  <p:transition>
    <p:fade/>
  </p:transition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cons -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800B71BF-6734-3D4E-8A36-B684BDA30A3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94C423CD-F55C-AD48-84C5-9E5DE00D6A23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105165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09DF0BDD-42C8-764F-AE1A-C8633F89B744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3942310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FE83D91D-20BC-F048-A5F9-6BA6FD9E1C7C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6798244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Content Placeholder 4">
            <a:extLst>
              <a:ext uri="{FF2B5EF4-FFF2-40B4-BE49-F238E27FC236}">
                <a16:creationId xmlns:a16="http://schemas.microsoft.com/office/drawing/2014/main" id="{7A1D28A5-46EB-B64F-A151-512BCFEB1A6D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616600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6662A63-9812-4216-B3CD-AF5EA9A59D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63935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A3B5F99-C322-4FA5-9845-E33F70AAC0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5336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4CFCBFC-A2CC-4BC6-8876-99FC2869D1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2534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D4B7AE-53A8-49D3-B515-48B51CA507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2534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D41FF3-FBE3-4278-9A28-B609FBF7A0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63935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A7AF931-B64A-4B5C-B20A-CD425D1F5F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05336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2166374B-8CA1-4E4D-897F-9F57A99003F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123291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7DF32699-CF78-B142-B55A-592854F65E5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123291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EF993BF1-E47B-0543-82C5-D28232ADC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9EF67E38-439D-DA4E-8481-544978A4B9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0" name="Picture 39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69C6C5C6-A24F-A641-BEE3-56E1EEB3CD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5FB799E-D03F-8B41-72BE-D49E9C42D52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CEAE0E7-60AE-0764-2405-CAC468DD194F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269643478"/>
      </p:ext>
    </p:extLst>
  </p:cSld>
  <p:clrMapOvr>
    <a:masterClrMapping/>
  </p:clrMapOvr>
  <p:transition>
    <p:fade/>
  </p:transition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title + 4 Column/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197627A-F191-6F6C-173C-941E0358FEC4}"/>
              </a:ext>
            </a:extLst>
          </p:cNvPr>
          <p:cNvSpPr/>
          <p:nvPr userDrawn="1"/>
        </p:nvSpPr>
        <p:spPr>
          <a:xfrm>
            <a:off x="9006841" y="1828800"/>
            <a:ext cx="2590800" cy="4419600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5A42B69-D187-68D4-E85A-B04FCB18888A}"/>
              </a:ext>
            </a:extLst>
          </p:cNvPr>
          <p:cNvSpPr/>
          <p:nvPr userDrawn="1"/>
        </p:nvSpPr>
        <p:spPr>
          <a:xfrm>
            <a:off x="6202681" y="1828800"/>
            <a:ext cx="2590800" cy="4419600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447CED2-F5A3-41ED-632D-054B47881A0D}"/>
              </a:ext>
            </a:extLst>
          </p:cNvPr>
          <p:cNvSpPr/>
          <p:nvPr userDrawn="1"/>
        </p:nvSpPr>
        <p:spPr>
          <a:xfrm>
            <a:off x="3398521" y="1828800"/>
            <a:ext cx="2590800" cy="4419600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4FFBDFC-D7CF-1CC2-7B36-3CBD0E83CC62}"/>
              </a:ext>
            </a:extLst>
          </p:cNvPr>
          <p:cNvSpPr/>
          <p:nvPr userDrawn="1"/>
        </p:nvSpPr>
        <p:spPr>
          <a:xfrm>
            <a:off x="594361" y="1828800"/>
            <a:ext cx="2590800" cy="4419600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EF993BF1-E47B-0543-82C5-D28232ADC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9EF67E38-439D-DA4E-8481-544978A4B9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A321E26-D184-D4E3-67AB-B6753847E19B}"/>
              </a:ext>
            </a:extLst>
          </p:cNvPr>
          <p:cNvGrpSpPr/>
          <p:nvPr/>
        </p:nvGrpSpPr>
        <p:grpSpPr>
          <a:xfrm>
            <a:off x="1322070" y="1303018"/>
            <a:ext cx="1135382" cy="1135382"/>
            <a:chOff x="828675" y="2082036"/>
            <a:chExt cx="841926" cy="841926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27FEB60D-3784-8085-5727-DB1EEBE7F182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925F3-40E8-968E-B47F-A1B14A0A058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98418FB-2EE0-126B-ABEB-E6E30429A19A}"/>
              </a:ext>
            </a:extLst>
          </p:cNvPr>
          <p:cNvGrpSpPr/>
          <p:nvPr userDrawn="1"/>
        </p:nvGrpSpPr>
        <p:grpSpPr>
          <a:xfrm>
            <a:off x="4126230" y="1303018"/>
            <a:ext cx="1135382" cy="1135382"/>
            <a:chOff x="6315075" y="2057223"/>
            <a:chExt cx="841926" cy="841926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EB60922C-F5F8-2F15-FE80-7652089519A7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15075" y="2057223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40023594-A54B-AFD2-0842-75A61816C5D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388139" y="2130283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DA20CC7-A116-65F1-47B9-E1E1430919E4}"/>
              </a:ext>
            </a:extLst>
          </p:cNvPr>
          <p:cNvGrpSpPr/>
          <p:nvPr/>
        </p:nvGrpSpPr>
        <p:grpSpPr>
          <a:xfrm>
            <a:off x="6930390" y="1303018"/>
            <a:ext cx="1135382" cy="1135382"/>
            <a:chOff x="831786" y="4100558"/>
            <a:chExt cx="841926" cy="841926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49677590-F319-B777-B838-31609E997D6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31786" y="4100558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42C4B954-4D22-831B-4DEB-E60CC04AB8F4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4846" y="4173618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3E91250-B382-ACF0-AFCC-310F0B40A666}"/>
              </a:ext>
            </a:extLst>
          </p:cNvPr>
          <p:cNvGrpSpPr/>
          <p:nvPr/>
        </p:nvGrpSpPr>
        <p:grpSpPr>
          <a:xfrm>
            <a:off x="9734550" y="1303018"/>
            <a:ext cx="1135382" cy="1135382"/>
            <a:chOff x="6318185" y="4094407"/>
            <a:chExt cx="841926" cy="841926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C68A9DC0-30A1-BC3D-74D3-E54BCC0955EF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18185" y="4094407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94468285-47AB-0719-CBC6-9041693FDE03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91245" y="4167467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2D8DE35C-A6B8-3F5C-0057-216A7E3296B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7230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910E73D3-8C55-6C4A-314C-F5A7F0B7382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7230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34FFD1B7-2625-F2D4-CE35-823C6D75C37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50139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0580E85B-67DB-8F9C-F9E4-F9D9F0B2EE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50139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A8CB9092-DFAE-A574-889A-64141BA1060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30555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10">
            <a:extLst>
              <a:ext uri="{FF2B5EF4-FFF2-40B4-BE49-F238E27FC236}">
                <a16:creationId xmlns:a16="http://schemas.microsoft.com/office/drawing/2014/main" id="{21F9AFBC-DB7A-0B52-8451-6A2F28B42ED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30555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72878174-388C-D7D5-E040-C9B6FEA3F3A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10971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32503B2-0C63-687E-5215-2F535131C26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10971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70368190"/>
      </p:ext>
    </p:extLst>
  </p:cSld>
  <p:clrMapOvr>
    <a:masterClrMapping/>
  </p:clrMapOvr>
  <p:transition>
    <p:fade/>
  </p:transition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Title + 1 Subtitle + 4 Column/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E57F3FD9-2178-611E-03F6-2D834346EDB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558933F-622D-A6C7-07AC-EB5CBF0659A1}"/>
              </a:ext>
            </a:extLst>
          </p:cNvPr>
          <p:cNvSpPr/>
          <p:nvPr userDrawn="1"/>
        </p:nvSpPr>
        <p:spPr>
          <a:xfrm>
            <a:off x="9006841" y="1828800"/>
            <a:ext cx="2590800" cy="4419600"/>
          </a:xfrm>
          <a:prstGeom prst="rect">
            <a:avLst/>
          </a:prstGeom>
          <a:solidFill>
            <a:schemeClr val="bg1">
              <a:alpha val="1918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87EF8DC-A8F2-6FD6-A4C9-098DE5256443}"/>
              </a:ext>
            </a:extLst>
          </p:cNvPr>
          <p:cNvSpPr/>
          <p:nvPr userDrawn="1"/>
        </p:nvSpPr>
        <p:spPr>
          <a:xfrm>
            <a:off x="6202681" y="1828800"/>
            <a:ext cx="2590800" cy="4419600"/>
          </a:xfrm>
          <a:prstGeom prst="rect">
            <a:avLst/>
          </a:prstGeom>
          <a:solidFill>
            <a:schemeClr val="bg1">
              <a:alpha val="1918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B2E73CC-98C3-122D-DDE6-796A13CFB003}"/>
              </a:ext>
            </a:extLst>
          </p:cNvPr>
          <p:cNvSpPr/>
          <p:nvPr userDrawn="1"/>
        </p:nvSpPr>
        <p:spPr>
          <a:xfrm>
            <a:off x="3398521" y="1828800"/>
            <a:ext cx="2590800" cy="4419600"/>
          </a:xfrm>
          <a:prstGeom prst="rect">
            <a:avLst/>
          </a:prstGeom>
          <a:solidFill>
            <a:schemeClr val="bg1">
              <a:alpha val="1918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CC7C7DC-BACB-2DC7-7EFC-BC8651A17229}"/>
              </a:ext>
            </a:extLst>
          </p:cNvPr>
          <p:cNvSpPr/>
          <p:nvPr userDrawn="1"/>
        </p:nvSpPr>
        <p:spPr>
          <a:xfrm>
            <a:off x="594361" y="1828800"/>
            <a:ext cx="2590800" cy="4419600"/>
          </a:xfrm>
          <a:prstGeom prst="rect">
            <a:avLst/>
          </a:prstGeom>
          <a:solidFill>
            <a:schemeClr val="bg1">
              <a:alpha val="1918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EF993BF1-E47B-0543-82C5-D28232ADC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9EF67E38-439D-DA4E-8481-544978A4B9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A321E26-D184-D4E3-67AB-B6753847E19B}"/>
              </a:ext>
            </a:extLst>
          </p:cNvPr>
          <p:cNvGrpSpPr/>
          <p:nvPr/>
        </p:nvGrpSpPr>
        <p:grpSpPr>
          <a:xfrm>
            <a:off x="1322070" y="1303018"/>
            <a:ext cx="1135382" cy="1135382"/>
            <a:chOff x="828675" y="2082036"/>
            <a:chExt cx="841926" cy="841926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27FEB60D-3784-8085-5727-DB1EEBE7F182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gradFill>
              <a:gsLst>
                <a:gs pos="99000">
                  <a:schemeClr val="tx2"/>
                </a:gs>
                <a:gs pos="19000">
                  <a:schemeClr val="tx2">
                    <a:lumMod val="50000"/>
                  </a:schemeClr>
                </a:gs>
              </a:gsLst>
              <a:lin ang="8100000" scaled="1"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925F3-40E8-968E-B47F-A1B14A0A058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98418FB-2EE0-126B-ABEB-E6E30429A19A}"/>
              </a:ext>
            </a:extLst>
          </p:cNvPr>
          <p:cNvGrpSpPr/>
          <p:nvPr userDrawn="1"/>
        </p:nvGrpSpPr>
        <p:grpSpPr>
          <a:xfrm>
            <a:off x="4126230" y="1303018"/>
            <a:ext cx="1135382" cy="1135382"/>
            <a:chOff x="6315075" y="2057223"/>
            <a:chExt cx="841926" cy="841926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EB60922C-F5F8-2F15-FE80-7652089519A7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15075" y="2057223"/>
              <a:ext cx="841926" cy="841926"/>
            </a:xfrm>
            <a:prstGeom prst="ellipse">
              <a:avLst/>
            </a:prstGeom>
            <a:gradFill>
              <a:gsLst>
                <a:gs pos="99000">
                  <a:schemeClr val="tx2"/>
                </a:gs>
                <a:gs pos="19000">
                  <a:schemeClr val="tx2">
                    <a:lumMod val="50000"/>
                  </a:schemeClr>
                </a:gs>
              </a:gsLst>
              <a:lin ang="8100000" scaled="1"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40023594-A54B-AFD2-0842-75A61816C5D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388139" y="2130283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DA20CC7-A116-65F1-47B9-E1E1430919E4}"/>
              </a:ext>
            </a:extLst>
          </p:cNvPr>
          <p:cNvGrpSpPr/>
          <p:nvPr/>
        </p:nvGrpSpPr>
        <p:grpSpPr>
          <a:xfrm>
            <a:off x="6930390" y="1303018"/>
            <a:ext cx="1135382" cy="1135382"/>
            <a:chOff x="831786" y="4100558"/>
            <a:chExt cx="841926" cy="841926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49677590-F319-B777-B838-31609E997D6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31786" y="4100558"/>
              <a:ext cx="841926" cy="841926"/>
            </a:xfrm>
            <a:prstGeom prst="ellipse">
              <a:avLst/>
            </a:prstGeom>
            <a:gradFill>
              <a:gsLst>
                <a:gs pos="99000">
                  <a:schemeClr val="tx2"/>
                </a:gs>
                <a:gs pos="19000">
                  <a:schemeClr val="tx2">
                    <a:lumMod val="50000"/>
                  </a:schemeClr>
                </a:gs>
              </a:gsLst>
              <a:lin ang="8100000" scaled="1"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42C4B954-4D22-831B-4DEB-E60CC04AB8F4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4846" y="4173618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3E91250-B382-ACF0-AFCC-310F0B40A666}"/>
              </a:ext>
            </a:extLst>
          </p:cNvPr>
          <p:cNvGrpSpPr/>
          <p:nvPr/>
        </p:nvGrpSpPr>
        <p:grpSpPr>
          <a:xfrm>
            <a:off x="9734550" y="1303018"/>
            <a:ext cx="1135382" cy="1135382"/>
            <a:chOff x="6318185" y="4094407"/>
            <a:chExt cx="841926" cy="841926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C68A9DC0-30A1-BC3D-74D3-E54BCC0955EF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18185" y="4094407"/>
              <a:ext cx="841926" cy="841926"/>
            </a:xfrm>
            <a:prstGeom prst="ellipse">
              <a:avLst/>
            </a:prstGeom>
            <a:gradFill>
              <a:gsLst>
                <a:gs pos="99000">
                  <a:schemeClr val="tx2"/>
                </a:gs>
                <a:gs pos="19000">
                  <a:schemeClr val="tx2">
                    <a:lumMod val="50000"/>
                  </a:schemeClr>
                </a:gs>
              </a:gsLst>
              <a:lin ang="8100000" scaled="1"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94468285-47AB-0719-CBC6-9041693FDE03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91245" y="4167467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2D8DE35C-A6B8-3F5C-0057-216A7E3296B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7230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910E73D3-8C55-6C4A-314C-F5A7F0B7382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7230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34FFD1B7-2625-F2D4-CE35-823C6D75C37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50139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0580E85B-67DB-8F9C-F9E4-F9D9F0B2EE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50139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A8CB9092-DFAE-A574-889A-64141BA1060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30555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10">
            <a:extLst>
              <a:ext uri="{FF2B5EF4-FFF2-40B4-BE49-F238E27FC236}">
                <a16:creationId xmlns:a16="http://schemas.microsoft.com/office/drawing/2014/main" id="{21F9AFBC-DB7A-0B52-8451-6A2F28B42ED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30555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72878174-388C-D7D5-E040-C9B6FEA3F3A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10971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32503B2-0C63-687E-5215-2F535131C26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10971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F6039AE5-A854-A912-9E00-E6BA3B7312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E824902-3B34-7FCF-498A-AB3C0A48B8E9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E1F4429-C113-F916-E8EE-B18F75BC3E5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661902210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1" y="12954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51438" y="12954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56E5016-53D2-6044-A287-690339B6BE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2390827-CF38-6C46-A1C3-09BC7ACCD29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1" y="2133600"/>
            <a:ext cx="3458809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BA21A48-BA6B-C247-92A3-98B11DB895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45179" y="2133600"/>
            <a:ext cx="3480226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0D286B6E-F0ED-C181-EB6E-CAE3B25C35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11437" y="12954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C7EFFA10-A1F8-7FAF-6033-74B5E6B8EC5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02175" y="2133600"/>
            <a:ext cx="3480226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20701588"/>
      </p:ext>
    </p:extLst>
  </p:cSld>
  <p:clrMapOvr>
    <a:masterClrMapping/>
  </p:clrMapOvr>
  <p:transition>
    <p:fade/>
  </p:transition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 Col + Copy +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19A9CC3-73DE-B2DA-3707-70B527EE186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F94FE247-D8F9-194B-39E8-56493FAD84FF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394201" y="1295400"/>
            <a:ext cx="3403598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Picture Placeholder 15">
            <a:extLst>
              <a:ext uri="{FF2B5EF4-FFF2-40B4-BE49-F238E27FC236}">
                <a16:creationId xmlns:a16="http://schemas.microsoft.com/office/drawing/2014/main" id="{758D0C94-8B71-BE5D-5525-5D9B67F16F8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178802" y="1295400"/>
            <a:ext cx="3403598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0DB05E8-5D25-DD87-3B2D-ACABB3702FD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" y="1295400"/>
            <a:ext cx="3403598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2C27E9AA-903A-B1F8-039F-9AA17E522C2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8814" y="2618482"/>
            <a:ext cx="326517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8A178294-5753-2424-18BD-306DB8B083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8814" y="1752600"/>
            <a:ext cx="326517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7BA6A96D-9D81-0995-2C95-4B0396409C3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63415" y="2618482"/>
            <a:ext cx="326517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D28FD761-5CA7-9C24-2730-D2F87BDE5FD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63415" y="1752600"/>
            <a:ext cx="326517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64831C33-C288-688C-4C0C-A6B074BE974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248017" y="2618482"/>
            <a:ext cx="326517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3566D4E9-C18D-B640-2F6A-4ADC6A42F9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48017" y="1752600"/>
            <a:ext cx="326517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933FDF7-E3C1-94AD-F295-18E4E0F994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772B863F-E483-3FD1-1EBF-67C3C2698A2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E097337-9FD4-3935-5CE2-42CDE24B49C1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6F47F8E-9E1C-E31F-6459-CE90FA4355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764E6C00-3A8C-26AD-BFBD-1EB051244B1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1638827"/>
      </p:ext>
    </p:extLst>
  </p:cSld>
  <p:clrMapOvr>
    <a:masterClrMapping/>
  </p:clrMapOvr>
  <p:transition>
    <p:fade/>
  </p:transition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 Col + Copy +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19A9CC3-73DE-B2DA-3707-70B527EE186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F94FE247-D8F9-194B-39E8-56493FAD84FF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403601" y="1295400"/>
            <a:ext cx="2590800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Picture Placeholder 15">
            <a:extLst>
              <a:ext uri="{FF2B5EF4-FFF2-40B4-BE49-F238E27FC236}">
                <a16:creationId xmlns:a16="http://schemas.microsoft.com/office/drawing/2014/main" id="{758D0C94-8B71-BE5D-5525-5D9B67F16F8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197602" y="1295400"/>
            <a:ext cx="2590800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5" name="Picture Placeholder 15">
            <a:extLst>
              <a:ext uri="{FF2B5EF4-FFF2-40B4-BE49-F238E27FC236}">
                <a16:creationId xmlns:a16="http://schemas.microsoft.com/office/drawing/2014/main" id="{217CCBB9-8D37-95E5-D0AF-3ABCD3D7E68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991602" y="1295400"/>
            <a:ext cx="2590800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0DB05E8-5D25-DD87-3B2D-ACABB3702FD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" y="1295400"/>
            <a:ext cx="2590800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2C27E9AA-903A-B1F8-039F-9AA17E522C2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7230" y="2618482"/>
            <a:ext cx="238506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8A178294-5753-2424-18BD-306DB8B083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7230" y="17526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24D99293-8F44-587C-C6A6-C630940F329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506471" y="2618482"/>
            <a:ext cx="238506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D0F38D8F-513F-5B10-8CAD-B04F35D9658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06471" y="17526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4EEBC2EC-5B95-27A1-0839-CB4BA80E30C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300472" y="2618482"/>
            <a:ext cx="238506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10">
            <a:extLst>
              <a:ext uri="{FF2B5EF4-FFF2-40B4-BE49-F238E27FC236}">
                <a16:creationId xmlns:a16="http://schemas.microsoft.com/office/drawing/2014/main" id="{549AD924-C0D5-D6FF-9ADB-61E2B31EBC9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00472" y="17526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B8588871-D585-1518-EBE3-49DCD674B58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094472" y="2618482"/>
            <a:ext cx="238506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4EFDF170-A436-9AE7-95D3-DB0D83206E03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094472" y="17526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4" name="Picture 3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FBBEB8CC-DF09-0909-6A59-0495E18423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3485519-EEEE-963A-E887-1E9743D108A2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30F8BA2-6AF9-115B-7B2D-9B4B2CC9A65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D88B82C-9F4D-0D12-3F51-7C2A22FD41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2026BAA-1465-B70F-4841-FDCCEB963C9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33645705"/>
      </p:ext>
    </p:extLst>
  </p:cSld>
  <p:clrMapOvr>
    <a:masterClrMapping/>
  </p:clrMapOvr>
  <p:transition>
    <p:fade/>
  </p:transition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3 col copy +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F950E1A-5434-5CD7-BBF4-A9000B062F7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1F07C65-AEC2-167F-F4B5-7AA702961FA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3" name="Picture 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65C8A76B-1CC3-DCF5-8E90-A875888DFB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8A28F2B2-EA0E-889F-B8E2-562E9D6712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541F605-332B-E8DA-963C-069951D441C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E947062B-A8F4-9E53-86B9-F51CBE811EA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9600" y="2794189"/>
            <a:ext cx="10972801" cy="349889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0F3B833-8F55-EB7B-B7D5-9F540C30D8AF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C5DC927-4E8E-AD19-9DA5-BB9857C415B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005905783"/>
      </p:ext>
    </p:extLst>
  </p:cSld>
  <p:clrMapOvr>
    <a:masterClrMapping/>
  </p:clrMapOvr>
  <p:transition>
    <p:fade/>
  </p:transition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3 col copy + 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F950E1A-5434-5CD7-BBF4-A9000B062F7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99000">
                <a:schemeClr val="accent2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1F07C65-AEC2-167F-F4B5-7AA702961FA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3" name="Picture 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65C8A76B-1CC3-DCF5-8E90-A875888DFB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8A28F2B2-EA0E-889F-B8E2-562E9D6712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541F605-332B-E8DA-963C-069951D441C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E947062B-A8F4-9E53-86B9-F51CBE811EA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9600" y="2794189"/>
            <a:ext cx="10972801" cy="349889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0F3B833-8F55-EB7B-B7D5-9F540C30D8AF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C5DC927-4E8E-AD19-9DA5-BB9857C415B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109586957"/>
      </p:ext>
    </p:extLst>
  </p:cSld>
  <p:clrMapOvr>
    <a:masterClrMapping/>
  </p:clrMapOvr>
  <p:transition>
    <p:fade/>
  </p:transition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Light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7E8A479-E758-2147-B823-D84DA9707E39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FE8E367A-44AC-E44E-9063-D1C9B7D9EE6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" y="528638"/>
            <a:ext cx="3352800" cy="3352800"/>
          </a:xfrm>
          <a:prstGeom prst="ellipse">
            <a:avLst/>
          </a:prstGeom>
        </p:spPr>
        <p:txBody>
          <a:bodyPr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553B9FD3-DD47-1044-BA3A-0E24992639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9099" y="4267200"/>
            <a:ext cx="3733800" cy="6096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304816" indent="0">
              <a:buNone/>
              <a:defRPr sz="2800" b="1">
                <a:solidFill>
                  <a:schemeClr val="bg1"/>
                </a:solidFill>
              </a:defRPr>
            </a:lvl2pPr>
            <a:lvl3pPr marL="671016" indent="0">
              <a:buNone/>
              <a:defRPr sz="2800" b="1">
                <a:solidFill>
                  <a:schemeClr val="bg1"/>
                </a:solidFill>
              </a:defRPr>
            </a:lvl3pPr>
            <a:lvl4pPr marL="1036372" indent="0">
              <a:buNone/>
              <a:defRPr sz="2800" b="1">
                <a:solidFill>
                  <a:schemeClr val="bg1"/>
                </a:solidFill>
              </a:defRPr>
            </a:lvl4pPr>
            <a:lvl5pPr marL="1280224" indent="0">
              <a:buNone/>
              <a:defRPr sz="2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9FE79029-5015-384F-A4DE-79D4BDE426A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9099" y="4882661"/>
            <a:ext cx="3733800" cy="6959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i="0">
                <a:solidFill>
                  <a:schemeClr val="bg1"/>
                </a:solidFill>
              </a:defRPr>
            </a:lvl1pPr>
            <a:lvl2pPr marL="304816" indent="0" algn="ctr">
              <a:buNone/>
              <a:defRPr sz="1400" i="1">
                <a:solidFill>
                  <a:schemeClr val="bg1"/>
                </a:solidFill>
              </a:defRPr>
            </a:lvl2pPr>
            <a:lvl3pPr marL="671016" indent="0" algn="ctr">
              <a:buNone/>
              <a:defRPr sz="1400" i="1">
                <a:solidFill>
                  <a:schemeClr val="bg1"/>
                </a:solidFill>
              </a:defRPr>
            </a:lvl3pPr>
            <a:lvl4pPr marL="1036372" indent="0" algn="ctr">
              <a:buNone/>
              <a:defRPr sz="1400" i="1">
                <a:solidFill>
                  <a:schemeClr val="bg1"/>
                </a:solidFill>
              </a:defRPr>
            </a:lvl4pPr>
            <a:lvl5pPr marL="1280224" indent="0" algn="ctr">
              <a:buNone/>
              <a:defRPr sz="14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DA4ACC24-3880-0244-A572-FD6D3A85457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65701" y="457200"/>
            <a:ext cx="6807200" cy="48005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Biography goes here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494677B5-8683-4E43-900B-5957C31A82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5701" y="5419301"/>
            <a:ext cx="6807200" cy="77002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400"/>
              </a:spcBef>
              <a:buNone/>
              <a:defRPr sz="1400" b="1">
                <a:solidFill>
                  <a:schemeClr val="tx2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xpertise: Area of Expertise</a:t>
            </a:r>
          </a:p>
          <a:p>
            <a:pPr lvl="0"/>
            <a:r>
              <a:rPr lang="en-US" b="0"/>
              <a:t>List of extra areas/supplemental things</a:t>
            </a:r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57B6C66-85EB-E737-C941-7855FDA1B18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7D4BB72-EF15-F04D-7684-AEB57C15B03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17591060"/>
      </p:ext>
    </p:extLst>
  </p:cSld>
  <p:clrMapOvr>
    <a:masterClrMapping/>
  </p:clrMapOvr>
  <p:transition>
    <p:fade/>
  </p:transition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C211B6C-FB39-3446-B52F-C45ADC2BFB58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FE8E367A-44AC-E44E-9063-D1C9B7D9EE6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" y="528638"/>
            <a:ext cx="3352800" cy="3352800"/>
          </a:xfrm>
          <a:prstGeom prst="ellipse">
            <a:avLst/>
          </a:prstGeom>
        </p:spPr>
        <p:txBody>
          <a:bodyPr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553B9FD3-DD47-1044-BA3A-0E24992639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9099" y="4267200"/>
            <a:ext cx="3733800" cy="6096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304816" indent="0">
              <a:buNone/>
              <a:defRPr sz="2800" b="1">
                <a:solidFill>
                  <a:schemeClr val="bg1"/>
                </a:solidFill>
              </a:defRPr>
            </a:lvl2pPr>
            <a:lvl3pPr marL="671016" indent="0">
              <a:buNone/>
              <a:defRPr sz="2800" b="1">
                <a:solidFill>
                  <a:schemeClr val="bg1"/>
                </a:solidFill>
              </a:defRPr>
            </a:lvl3pPr>
            <a:lvl4pPr marL="1036372" indent="0">
              <a:buNone/>
              <a:defRPr sz="2800" b="1">
                <a:solidFill>
                  <a:schemeClr val="bg1"/>
                </a:solidFill>
              </a:defRPr>
            </a:lvl4pPr>
            <a:lvl5pPr marL="1280224" indent="0">
              <a:buNone/>
              <a:defRPr sz="2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9FE79029-5015-384F-A4DE-79D4BDE426A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9099" y="4882661"/>
            <a:ext cx="3733800" cy="6959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i="0">
                <a:solidFill>
                  <a:schemeClr val="bg1"/>
                </a:solidFill>
              </a:defRPr>
            </a:lvl1pPr>
            <a:lvl2pPr marL="304816" indent="0" algn="ctr">
              <a:buNone/>
              <a:defRPr sz="1400" i="1">
                <a:solidFill>
                  <a:schemeClr val="bg1"/>
                </a:solidFill>
              </a:defRPr>
            </a:lvl2pPr>
            <a:lvl3pPr marL="671016" indent="0" algn="ctr">
              <a:buNone/>
              <a:defRPr sz="1400" i="1">
                <a:solidFill>
                  <a:schemeClr val="bg1"/>
                </a:solidFill>
              </a:defRPr>
            </a:lvl3pPr>
            <a:lvl4pPr marL="1036372" indent="0" algn="ctr">
              <a:buNone/>
              <a:defRPr sz="1400" i="1">
                <a:solidFill>
                  <a:schemeClr val="bg1"/>
                </a:solidFill>
              </a:defRPr>
            </a:lvl4pPr>
            <a:lvl5pPr marL="1280224" indent="0" algn="ctr">
              <a:buNone/>
              <a:defRPr sz="14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DA4ACC24-3880-0244-A572-FD6D3A85457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65701" y="457200"/>
            <a:ext cx="6807200" cy="48005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Biography goes here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494677B5-8683-4E43-900B-5957C31A82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5701" y="5419301"/>
            <a:ext cx="6807200" cy="77002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400"/>
              </a:spcBef>
              <a:buNone/>
              <a:defRPr sz="1400" b="1">
                <a:solidFill>
                  <a:schemeClr val="tx2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xpertise: Area of Expertise</a:t>
            </a:r>
          </a:p>
          <a:p>
            <a:pPr lvl="0"/>
            <a:r>
              <a:rPr lang="en-US" b="0"/>
              <a:t>List of extra areas/supplemental things</a:t>
            </a:r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F007714-1EDB-F6C7-C8CB-A10217A259C8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57FD726-EC2F-7814-790A-65D03287B75A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793524633"/>
      </p:ext>
    </p:extLst>
  </p:cSld>
  <p:clrMapOvr>
    <a:masterClrMapping/>
  </p:clrMapOvr>
  <p:transition>
    <p:fade/>
  </p:transition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Lighter Blue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3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C7B55AA-1FD7-D998-FEF6-231028E4EF74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E10394D-FF76-F8A0-3E5B-FF31F5AF953C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178973583"/>
      </p:ext>
    </p:extLst>
  </p:cSld>
  <p:clrMapOvr>
    <a:masterClrMapping/>
  </p:clrMapOvr>
  <p:transition>
    <p:fade/>
  </p:transition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Lighter Blue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C7B55AA-1FD7-D998-FEF6-231028E4EF74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E10394D-FF76-F8A0-3E5B-FF31F5AF953C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2C121A8-C0BC-A951-F4DE-FDD8267627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984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B564137E-7648-AD38-CD8D-4B5AC37C263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8984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85747023"/>
      </p:ext>
    </p:extLst>
  </p:cSld>
  <p:clrMapOvr>
    <a:masterClrMapping/>
  </p:clrMapOvr>
  <p:transition>
    <p:fade/>
  </p:transition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Dark Blue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AB8505E-4E55-1E42-B6E9-B87303ABDE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2F89574-AA17-5943-B7F9-0A4D6716481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3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9452291-43C3-AF5E-1FAD-4EAB1004815D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D5DC41-1E40-6029-02B0-771E0E01265E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48981882"/>
      </p:ext>
    </p:extLst>
  </p:cSld>
  <p:clrMapOvr>
    <a:masterClrMapping/>
  </p:clrMapOvr>
  <p:transition>
    <p:fade/>
  </p:transition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Dark Blue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AB8505E-4E55-1E42-B6E9-B87303ABDE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9452291-43C3-AF5E-1FAD-4EAB1004815D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D5DC41-1E40-6029-02B0-771E0E01265E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9FB0B9B-D069-4C7B-0682-6EDD818C18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984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47F397D2-2E70-F138-05E2-7E55CA6C25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8984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84139684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1" y="12954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413761" y="12954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56E5016-53D2-6044-A287-690339B6BE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0D286B6E-F0ED-C181-EB6E-CAE3B25C35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17921" y="12954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B454773C-5237-707C-2ECC-9562D3E238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2133600"/>
            <a:ext cx="2560320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7E4A861E-25C6-853A-D997-A484F11EE32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2133600"/>
            <a:ext cx="2560320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4574AF9B-1F20-45A1-D721-A6C1AA42C8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17921" y="2133600"/>
            <a:ext cx="2560320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B087AF7D-7916-1152-7183-48D455B2FDA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22082" y="2133600"/>
            <a:ext cx="2560320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D88856CB-8952-C891-1783-D6F3DC60CC8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22082" y="12954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35868078"/>
      </p:ext>
    </p:extLst>
  </p:cSld>
  <p:clrMapOvr>
    <a:masterClrMapping/>
  </p:clrMapOvr>
  <p:transition>
    <p:fade/>
  </p:transition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erry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C5B49DC-9D7C-E966-60DE-22C8D3D884E1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000">
                <a:schemeClr val="tx2"/>
              </a:gs>
              <a:gs pos="100000">
                <a:schemeClr val="accent2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AB8505E-4E55-1E42-B6E9-B87303ABDE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2F89574-AA17-5943-B7F9-0A4D6716481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3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42E3AC-ABB9-330F-9959-790702634C51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1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69459E0-8E11-8510-97F4-BDF8DA2962A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1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049744172"/>
      </p:ext>
    </p:extLst>
  </p:cSld>
  <p:clrMapOvr>
    <a:masterClrMapping/>
  </p:clrMapOvr>
  <p:transition>
    <p:fade/>
  </p:transition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erry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6E41728-ADBE-F129-3130-5C7A7B67AD39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000">
                <a:schemeClr val="tx2"/>
              </a:gs>
              <a:gs pos="100000">
                <a:schemeClr val="accent2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AB8505E-4E55-1E42-B6E9-B87303ABDE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42E3AC-ABB9-330F-9959-790702634C51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1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69459E0-8E11-8510-97F4-BDF8DA2962A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1"/>
                </a:solidFill>
              </a:rPr>
              <a:t>© 2025 EVERSANA.  All Rights Reserved.  CONFIDENTIAL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AC0B27-A86C-4569-E032-9BCAF5BE56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984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F7DAEA6C-B549-34F6-E58F-564198059D7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8984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24108907"/>
      </p:ext>
    </p:extLst>
  </p:cSld>
  <p:clrMapOvr>
    <a:masterClrMapping/>
  </p:clrMapOvr>
  <p:transition>
    <p:fade/>
  </p:transition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Lighter Blue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8150544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8115385-43EB-7440-886E-68C3ADCB0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0757043"/>
      </p:ext>
    </p:extLst>
  </p:cSld>
  <p:clrMapOvr>
    <a:masterClrMapping/>
  </p:clrMapOvr>
  <p:transition>
    <p:fade/>
  </p:transition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Lighter Blue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8115385-43EB-7440-886E-68C3ADCB0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DD6A631-C1E5-0767-E5ED-C812E78915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28985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0845615A-2A80-83E2-8E73-E6E07D8D22F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28985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49510976"/>
      </p:ext>
    </p:extLst>
  </p:cSld>
  <p:clrMapOvr>
    <a:masterClrMapping/>
  </p:clrMapOvr>
  <p:transition>
    <p:fade/>
  </p:transition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Dark Blue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E16005D-1F88-4049-A080-18E58886C4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E777987-AF80-FE40-A5DC-D5093D72F7A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8150544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B967013-4DC9-A04B-B979-69C0CB1C98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1370792"/>
      </p:ext>
    </p:extLst>
  </p:cSld>
  <p:clrMapOvr>
    <a:masterClrMapping/>
  </p:clrMapOvr>
  <p:transition>
    <p:fade/>
  </p:transition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Dark Blue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E16005D-1F88-4049-A080-18E58886C4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B967013-4DC9-A04B-B979-69C0CB1C98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C0A9C-3157-C6E9-E1C2-BEEAD5E5A5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28985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A0EF1490-F660-E664-128A-26932B78FC9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28985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27296441"/>
      </p:ext>
    </p:extLst>
  </p:cSld>
  <p:clrMapOvr>
    <a:masterClrMapping/>
  </p:clrMapOvr>
  <p:transition>
    <p:fade/>
  </p:transition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erry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12E709-A30E-4DDE-F3EF-8AE6B3C1B5B2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097CF4C-8A18-814C-B219-D2786455E0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0737808-75DD-1C45-B1A1-280C2BB8634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8150544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5DCEA0E-DB5E-EB45-BBB4-7BA4B83384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610672"/>
      </p:ext>
    </p:extLst>
  </p:cSld>
  <p:clrMapOvr>
    <a:masterClrMapping/>
  </p:clrMapOvr>
  <p:transition>
    <p:fade/>
  </p:transition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erry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12E709-A30E-4DDE-F3EF-8AE6B3C1B5B2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097CF4C-8A18-814C-B219-D2786455E0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5DCEA0E-DB5E-EB45-BBB4-7BA4B83384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CEFD47A6-A33F-69CF-4422-E6908DC9B9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28985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CE29EA41-768C-6B69-7AD8-F8773E3036B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28985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1013272"/>
      </p:ext>
    </p:extLst>
  </p:cSld>
  <p:clrMapOvr>
    <a:masterClrMapping/>
  </p:clrMapOvr>
  <p:transition>
    <p:fade/>
  </p:transition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Lighter Blue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8B92AFC-ED64-DB45-9244-44C168BDE0AC}"/>
              </a:ext>
            </a:extLst>
          </p:cNvPr>
          <p:cNvSpPr/>
          <p:nvPr userDrawn="1"/>
        </p:nvSpPr>
        <p:spPr>
          <a:xfrm>
            <a:off x="0" y="0"/>
            <a:ext cx="6096001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2" y="1373259"/>
            <a:ext cx="5032057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84C018-45E2-1484-F05F-EA4D31F40821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0CE3E2-E034-CA54-7E74-0AD15FF2A3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392886881"/>
      </p:ext>
    </p:extLst>
  </p:cSld>
  <p:clrMapOvr>
    <a:masterClrMapping/>
  </p:clrMapOvr>
  <p:transition>
    <p:fade/>
  </p:transition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Lighter Blue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8B92AFC-ED64-DB45-9244-44C168BDE0AC}"/>
              </a:ext>
            </a:extLst>
          </p:cNvPr>
          <p:cNvSpPr/>
          <p:nvPr userDrawn="1"/>
        </p:nvSpPr>
        <p:spPr>
          <a:xfrm>
            <a:off x="0" y="0"/>
            <a:ext cx="6096001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60590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84C018-45E2-1484-F05F-EA4D31F40821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0CE3E2-E034-CA54-7E74-0AD15FF2A3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7A66765C-EDB8-E7EB-7E5D-C406CA01B5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0590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64989235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mparison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1439" y="1066800"/>
            <a:ext cx="5185833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70916" y="1066800"/>
            <a:ext cx="5185833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2390827-CF38-6C46-A1C3-09BC7ACCD29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1" y="1905000"/>
            <a:ext cx="5167672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BA21A48-BA6B-C247-92A3-98B11DB895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386946" y="1905000"/>
            <a:ext cx="5199671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61709529"/>
      </p:ext>
    </p:extLst>
  </p:cSld>
  <p:clrMapOvr>
    <a:masterClrMapping/>
  </p:clrMapOvr>
  <p:transition>
    <p:fade/>
  </p:transition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Darker Blue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4700783-38EA-A14F-8386-394787B4AB61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2" y="1373259"/>
            <a:ext cx="5032057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B590D43-51B2-E902-AD38-B40FD459CB8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A806746-F11E-2C56-94AD-E1D275BC52E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952320410"/>
      </p:ext>
    </p:extLst>
  </p:cSld>
  <p:clrMapOvr>
    <a:masterClrMapping/>
  </p:clrMapOvr>
  <p:transition>
    <p:fade/>
  </p:transition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Darker Blue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4700783-38EA-A14F-8386-394787B4AB61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B590D43-51B2-E902-AD38-B40FD459CB8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A806746-F11E-2C56-94AD-E1D275BC52E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7963B7-F628-2D68-F6DB-AF27E27269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60590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053EB6CF-6606-F15B-4EA0-10F2B110625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0590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4392515"/>
      </p:ext>
    </p:extLst>
  </p:cSld>
  <p:clrMapOvr>
    <a:masterClrMapping/>
  </p:clrMapOvr>
  <p:transition>
    <p:fade/>
  </p:transition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erry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903018F-389D-2B05-2192-AAB586AED729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2" y="1373259"/>
            <a:ext cx="5032057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6E538A-5EE6-1459-24B2-41ED4900400B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1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D97E0F3-88DD-850F-5C8F-2CA13DAACBE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1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495997450"/>
      </p:ext>
    </p:extLst>
  </p:cSld>
  <p:clrMapOvr>
    <a:masterClrMapping/>
  </p:clrMapOvr>
  <p:transition>
    <p:fade/>
  </p:transition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erry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903018F-389D-2B05-2192-AAB586AED729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6E538A-5EE6-1459-24B2-41ED4900400B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1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D97E0F3-88DD-850F-5C8F-2CA13DAACBE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1"/>
                </a:solidFill>
              </a:rPr>
              <a:t>© 2025 EVERSANA.  All Rights Reserved.  CONFIDENTIAL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E2EDFA65-3981-501C-97F4-6D2E8FEE27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60590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8249D771-5A70-F242-0447-0D4445722E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0590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21049994"/>
      </p:ext>
    </p:extLst>
  </p:cSld>
  <p:clrMapOvr>
    <a:masterClrMapping/>
  </p:clrMapOvr>
  <p:transition>
    <p:fade/>
  </p:transition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Lighter Blue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685800"/>
            <a:ext cx="4876800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805295" y="1486728"/>
            <a:ext cx="4677412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8115385-43EB-7440-886E-68C3ADCB0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7384380"/>
      </p:ext>
    </p:extLst>
  </p:cSld>
  <p:clrMapOvr>
    <a:masterClrMapping/>
  </p:clrMapOvr>
  <p:transition>
    <p:fade/>
  </p:transition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Lighter Blue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685800"/>
            <a:ext cx="4876800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8115385-43EB-7440-886E-68C3ADCB0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094B398-1CD8-33B7-347B-8CA3EE42D5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656591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39EE5620-B81D-6F41-D513-0677CAFF2D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6591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56354256"/>
      </p:ext>
    </p:extLst>
  </p:cSld>
  <p:clrMapOvr>
    <a:masterClrMapping/>
  </p:clrMapOvr>
  <p:transition>
    <p:fade/>
  </p:transition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Dark Blue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E16005D-1F88-4049-A080-18E58886C4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685800"/>
            <a:ext cx="4873752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E777987-AF80-FE40-A5DC-D5093D72F7A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805295" y="1486728"/>
            <a:ext cx="4677412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B967013-4DC9-A04B-B979-69C0CB1C98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8497292"/>
      </p:ext>
    </p:extLst>
  </p:cSld>
  <p:clrMapOvr>
    <a:masterClrMapping/>
  </p:clrMapOvr>
  <p:transition>
    <p:fade/>
  </p:transition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Dark Blue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E16005D-1F88-4049-A080-18E58886C4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685800"/>
            <a:ext cx="4873752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B967013-4DC9-A04B-B979-69C0CB1C98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E899FF8-C8AF-5EEA-D11D-50CC4621E9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656591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41F308DB-6CFF-ED16-8773-EF615C11AE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6591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57930823"/>
      </p:ext>
    </p:extLst>
  </p:cSld>
  <p:clrMapOvr>
    <a:masterClrMapping/>
  </p:clrMapOvr>
  <p:transition>
    <p:fade/>
  </p:transition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erry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12E709-A30E-4DDE-F3EF-8AE6B3C1B5B2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097CF4C-8A18-814C-B219-D2786455E0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685800"/>
            <a:ext cx="4873752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0737808-75DD-1C45-B1A1-280C2BB8634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805295" y="1486728"/>
            <a:ext cx="4677412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5DCEA0E-DB5E-EB45-BBB4-7BA4B83384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710928"/>
      </p:ext>
    </p:extLst>
  </p:cSld>
  <p:clrMapOvr>
    <a:masterClrMapping/>
  </p:clrMapOvr>
  <p:transition>
    <p:fade/>
  </p:transition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erry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12E709-A30E-4DDE-F3EF-8AE6B3C1B5B2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097CF4C-8A18-814C-B219-D2786455E0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685800"/>
            <a:ext cx="4873752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5DCEA0E-DB5E-EB45-BBB4-7BA4B83384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07678FAA-05B0-5A3A-9E9D-0991F797C0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656591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57B1DFF0-07F0-DBBB-17FF-5FE7B371893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6591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2621674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omparison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1440" y="10668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51438" y="10668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2390827-CF38-6C46-A1C3-09BC7ACCD29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1" y="1905000"/>
            <a:ext cx="3458809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BA21A48-BA6B-C247-92A3-98B11DB895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45179" y="1905000"/>
            <a:ext cx="3480226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0D286B6E-F0ED-C181-EB6E-CAE3B25C35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11437" y="10668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C7EFFA10-A1F8-7FAF-6033-74B5E6B8EC5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02175" y="1905000"/>
            <a:ext cx="3480226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97620872"/>
      </p:ext>
    </p:extLst>
  </p:cSld>
  <p:clrMapOvr>
    <a:masterClrMapping/>
  </p:clrMapOvr>
  <p:transition>
    <p:fade/>
  </p:transition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Light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4307840" y="1371599"/>
            <a:ext cx="3581574" cy="48006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066800"/>
            <a:ext cx="3574302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066800"/>
            <a:ext cx="3581574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0668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007679B-DCDF-A64B-B0FC-7BE9527C4F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02843145"/>
      </p:ext>
    </p:extLst>
  </p:cSld>
  <p:clrMapOvr>
    <a:masterClrMapping/>
  </p:clrMapOvr>
  <p:transition>
    <p:fade/>
  </p:transition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Light + 1 Title + 1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2E4FD1D-BDEC-E736-BA8C-9FFE8E25204E}"/>
              </a:ext>
            </a:extLst>
          </p:cNvPr>
          <p:cNvSpPr/>
          <p:nvPr userDrawn="1"/>
        </p:nvSpPr>
        <p:spPr>
          <a:xfrm>
            <a:off x="4307840" y="1545864"/>
            <a:ext cx="3581574" cy="46507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Parallelogram 3">
            <a:extLst>
              <a:ext uri="{FF2B5EF4-FFF2-40B4-BE49-F238E27FC236}">
                <a16:creationId xmlns:a16="http://schemas.microsoft.com/office/drawing/2014/main" id="{CDCD5D82-C5E2-5D73-F5E4-C3D35422F16D}"/>
              </a:ext>
            </a:extLst>
          </p:cNvPr>
          <p:cNvSpPr/>
          <p:nvPr userDrawn="1"/>
        </p:nvSpPr>
        <p:spPr>
          <a:xfrm>
            <a:off x="614679" y="1311729"/>
            <a:ext cx="3574302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B2CE68FE-9F51-ACD7-AD33-4543E361F051}"/>
              </a:ext>
            </a:extLst>
          </p:cNvPr>
          <p:cNvSpPr/>
          <p:nvPr userDrawn="1"/>
        </p:nvSpPr>
        <p:spPr>
          <a:xfrm>
            <a:off x="4312278" y="1317264"/>
            <a:ext cx="3581574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DCFDBA1-AC82-6D86-9FC0-4E0D810BC6A3}"/>
              </a:ext>
            </a:extLst>
          </p:cNvPr>
          <p:cNvSpPr/>
          <p:nvPr userDrawn="1"/>
        </p:nvSpPr>
        <p:spPr>
          <a:xfrm>
            <a:off x="8023934" y="1317264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AD7CA1D6-C5B5-E104-774C-2B5A7FD8445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2242685"/>
            <a:ext cx="3352800" cy="377711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78C13F36-7BCA-EF90-4DA4-0F72C1B07EA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2242685"/>
            <a:ext cx="3352800" cy="377711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1171102C-087D-1CB1-8EE5-9998DE3AFA7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2242685"/>
            <a:ext cx="3352800" cy="377711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EC36F384-266C-4760-4943-4AB0BA6B3B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EA85711C-A814-DC90-87DE-98E2D438144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62711723"/>
      </p:ext>
    </p:extLst>
  </p:cSld>
  <p:clrMapOvr>
    <a:masterClrMapping/>
  </p:clrMapOvr>
  <p:transition>
    <p:fade/>
  </p:transition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Light + 2 Title + 1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4307840" y="2057399"/>
            <a:ext cx="3581574" cy="41148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823265"/>
            <a:ext cx="3574302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828800"/>
            <a:ext cx="3581574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8288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2754221"/>
            <a:ext cx="3352800" cy="3341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2754221"/>
            <a:ext cx="3352800" cy="3341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2754221"/>
            <a:ext cx="3352800" cy="3341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E2DD6DF-FE85-9E0A-0E19-7D0C7BBCD9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6F67B588-9C69-C720-9C06-1FDB83A0D19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69521114"/>
      </p:ext>
    </p:extLst>
  </p:cSld>
  <p:clrMapOvr>
    <a:masterClrMapping/>
  </p:clrMapOvr>
  <p:transition>
    <p:fade/>
  </p:transition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+ 3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Picture Placeholder 54">
            <a:extLst>
              <a:ext uri="{FF2B5EF4-FFF2-40B4-BE49-F238E27FC236}">
                <a16:creationId xmlns:a16="http://schemas.microsoft.com/office/drawing/2014/main" id="{F3F6F1AF-2D78-69E6-F0B8-6576EE713F6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" y="0"/>
            <a:ext cx="6096000" cy="6175816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72970C1F-675B-0ABF-7786-28B42A047999}"/>
              </a:ext>
            </a:extLst>
          </p:cNvPr>
          <p:cNvSpPr txBox="1"/>
          <p:nvPr userDrawn="1"/>
        </p:nvSpPr>
        <p:spPr bwMode="gray">
          <a:xfrm>
            <a:off x="6410325" y="4551771"/>
            <a:ext cx="5190379" cy="1371600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C3D813E-17E8-D7B1-1388-17D9B9050D5A}"/>
              </a:ext>
            </a:extLst>
          </p:cNvPr>
          <p:cNvSpPr txBox="1"/>
          <p:nvPr userDrawn="1"/>
        </p:nvSpPr>
        <p:spPr bwMode="gray">
          <a:xfrm>
            <a:off x="6410325" y="2930790"/>
            <a:ext cx="5190379" cy="1371600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46" name="Text Placeholder 7">
            <a:extLst>
              <a:ext uri="{FF2B5EF4-FFF2-40B4-BE49-F238E27FC236}">
                <a16:creationId xmlns:a16="http://schemas.microsoft.com/office/drawing/2014/main" id="{62CFDF44-7037-7160-6077-0C6E33401DC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25405" y="3269523"/>
            <a:ext cx="4111522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9DB6B106-3FE8-FEAC-8F1D-4FD515992D4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25405" y="3636669"/>
            <a:ext cx="4111522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221CF6-692E-C0B4-F6CB-3A8E325C2B46}"/>
              </a:ext>
            </a:extLst>
          </p:cNvPr>
          <p:cNvSpPr txBox="1"/>
          <p:nvPr userDrawn="1"/>
        </p:nvSpPr>
        <p:spPr bwMode="gray">
          <a:xfrm>
            <a:off x="6410325" y="1316736"/>
            <a:ext cx="5190379" cy="1371600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96F70FC-1F8B-A2BD-2389-4AF981139895}"/>
              </a:ext>
            </a:extLst>
          </p:cNvPr>
          <p:cNvGrpSpPr/>
          <p:nvPr userDrawn="1"/>
        </p:nvGrpSpPr>
        <p:grpSpPr>
          <a:xfrm>
            <a:off x="5789344" y="1305051"/>
            <a:ext cx="1394970" cy="1394970"/>
            <a:chOff x="828675" y="2082036"/>
            <a:chExt cx="841926" cy="841926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73FFA462-FD02-6D22-B7BC-D8B12B5B4124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277D5DAB-824F-69A8-1C7B-908E6D341047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F308E21F-0E3B-0420-0DE0-78CF0EB64F13}"/>
              </a:ext>
            </a:extLst>
          </p:cNvPr>
          <p:cNvGrpSpPr/>
          <p:nvPr userDrawn="1"/>
        </p:nvGrpSpPr>
        <p:grpSpPr>
          <a:xfrm>
            <a:off x="5789344" y="2924301"/>
            <a:ext cx="1394970" cy="1394970"/>
            <a:chOff x="828675" y="2082036"/>
            <a:chExt cx="841926" cy="841926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E2138A9C-C266-6B44-711D-EBF023E0BD7E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1E2BDFE9-6519-3D35-1122-53D9983FDCD8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743F2406-4FB5-99B7-7EF1-3676E898222A}"/>
              </a:ext>
            </a:extLst>
          </p:cNvPr>
          <p:cNvGrpSpPr/>
          <p:nvPr userDrawn="1"/>
        </p:nvGrpSpPr>
        <p:grpSpPr>
          <a:xfrm>
            <a:off x="5789344" y="4543551"/>
            <a:ext cx="1394970" cy="1394970"/>
            <a:chOff x="828675" y="2082036"/>
            <a:chExt cx="841926" cy="841926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7FCB5D0B-6A8F-F899-05EB-D7E9664059C3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A134FBE2-518D-1CFD-1AE2-8F92BF50C6AF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7" name="Title 1">
            <a:extLst>
              <a:ext uri="{FF2B5EF4-FFF2-40B4-BE49-F238E27FC236}">
                <a16:creationId xmlns:a16="http://schemas.microsoft.com/office/drawing/2014/main" id="{44058530-687E-1944-449D-CDD8CAB6A3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6833" y="358909"/>
            <a:ext cx="5135568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8AFAF07E-BA6C-F993-36ED-3DC652E123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46833" y="793111"/>
            <a:ext cx="5135568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B2E7CDC0-06D5-2649-74DF-94FE3E7D68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2250" y="331126"/>
            <a:ext cx="3989388" cy="403225"/>
          </a:xfrm>
        </p:spPr>
        <p:txBody>
          <a:bodyPr anchor="ctr"/>
          <a:lstStyle>
            <a:lvl1pPr marL="0" indent="0" algn="r">
              <a:buNone/>
              <a:defRPr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ASE STUDY SUBJECT</a:t>
            </a:r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A58E33A8-8323-569B-1551-988D23019D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25405" y="1655469"/>
            <a:ext cx="4111522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4A3C8217-9724-B9A2-9BD2-5B32457886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325405" y="2022615"/>
            <a:ext cx="4111522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234B589B-D62B-8B74-7346-26D2CF39530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25405" y="4890504"/>
            <a:ext cx="4111522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0" name="Text Placeholder 7">
            <a:extLst>
              <a:ext uri="{FF2B5EF4-FFF2-40B4-BE49-F238E27FC236}">
                <a16:creationId xmlns:a16="http://schemas.microsoft.com/office/drawing/2014/main" id="{69D9F3F5-427B-373D-2532-8AECF747A25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325405" y="5257650"/>
            <a:ext cx="4111522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</p:spTree>
    <p:extLst>
      <p:ext uri="{BB962C8B-B14F-4D97-AF65-F5344CB8AC3E}">
        <p14:creationId xmlns:p14="http://schemas.microsoft.com/office/powerpoint/2010/main" val="174876731"/>
      </p:ext>
    </p:extLst>
  </p:cSld>
  <p:clrMapOvr>
    <a:masterClrMapping/>
  </p:clrMapOvr>
  <p:transition>
    <p:fade/>
  </p:transition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+ 4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Picture Placeholder 54">
            <a:extLst>
              <a:ext uri="{FF2B5EF4-FFF2-40B4-BE49-F238E27FC236}">
                <a16:creationId xmlns:a16="http://schemas.microsoft.com/office/drawing/2014/main" id="{82D63F1B-C9BF-7913-D252-3E253EC1E21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" y="0"/>
            <a:ext cx="6096000" cy="6175816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067D481-562B-42D8-F213-7E140897F0FC}"/>
              </a:ext>
            </a:extLst>
          </p:cNvPr>
          <p:cNvSpPr txBox="1"/>
          <p:nvPr userDrawn="1"/>
        </p:nvSpPr>
        <p:spPr bwMode="gray">
          <a:xfrm>
            <a:off x="6410325" y="1326917"/>
            <a:ext cx="5190379" cy="1052753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EFADE37-5D4C-E8ED-DB51-73E2E1D860A3}"/>
              </a:ext>
            </a:extLst>
          </p:cNvPr>
          <p:cNvGrpSpPr/>
          <p:nvPr userDrawn="1"/>
        </p:nvGrpSpPr>
        <p:grpSpPr>
          <a:xfrm>
            <a:off x="5789344" y="1305051"/>
            <a:ext cx="1096486" cy="1096486"/>
            <a:chOff x="828675" y="2082036"/>
            <a:chExt cx="841926" cy="841926"/>
          </a:xfrm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809AF017-0BCF-CCFB-572B-61BCC8EF55FB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FF3CB7F8-480C-E891-8442-4847CCBE756D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7" name="Title 1">
            <a:extLst>
              <a:ext uri="{FF2B5EF4-FFF2-40B4-BE49-F238E27FC236}">
                <a16:creationId xmlns:a16="http://schemas.microsoft.com/office/drawing/2014/main" id="{44058530-687E-1944-449D-CDD8CAB6A3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6833" y="358909"/>
            <a:ext cx="5135568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8AFAF07E-BA6C-F993-36ED-3DC652E123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46833" y="793111"/>
            <a:ext cx="5135568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B2E7CDC0-06D5-2649-74DF-94FE3E7D68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2250" y="331126"/>
            <a:ext cx="3989388" cy="403225"/>
          </a:xfrm>
        </p:spPr>
        <p:txBody>
          <a:bodyPr anchor="ctr"/>
          <a:lstStyle>
            <a:lvl1pPr marL="0" indent="0" algn="r">
              <a:buNone/>
              <a:defRPr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ASE STUDY SUBJECT</a:t>
            </a:r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A58E33A8-8323-569B-1551-988D23019D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72738" y="1475360"/>
            <a:ext cx="4364189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4A3C8217-9724-B9A2-9BD2-5B32457886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72738" y="1842506"/>
            <a:ext cx="4364189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E55027F-C35B-C370-68AC-7F0DA13F2323}"/>
              </a:ext>
            </a:extLst>
          </p:cNvPr>
          <p:cNvSpPr txBox="1"/>
          <p:nvPr userDrawn="1"/>
        </p:nvSpPr>
        <p:spPr bwMode="gray">
          <a:xfrm>
            <a:off x="6410325" y="2592299"/>
            <a:ext cx="5190379" cy="1052753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F546826-A084-09AB-3A96-D3E3C75B14F4}"/>
              </a:ext>
            </a:extLst>
          </p:cNvPr>
          <p:cNvGrpSpPr/>
          <p:nvPr userDrawn="1"/>
        </p:nvGrpSpPr>
        <p:grpSpPr>
          <a:xfrm>
            <a:off x="5789344" y="2570433"/>
            <a:ext cx="1096486" cy="1096486"/>
            <a:chOff x="828675" y="2082036"/>
            <a:chExt cx="841926" cy="841926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44AA2F92-0C16-E2BC-82CF-46E3E918DCFC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49E28793-17D6-8EE6-773B-FBCD5C5EF71A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85E23864-C902-882B-66DF-19CF2982624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072738" y="2769642"/>
            <a:ext cx="4364189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42F712B5-AE68-0197-6D93-C82ABF6113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072738" y="3136788"/>
            <a:ext cx="4364189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86F773E-6584-B454-4B5D-C8E244D39CCE}"/>
              </a:ext>
            </a:extLst>
          </p:cNvPr>
          <p:cNvSpPr txBox="1"/>
          <p:nvPr userDrawn="1"/>
        </p:nvSpPr>
        <p:spPr bwMode="gray">
          <a:xfrm>
            <a:off x="6410325" y="3857681"/>
            <a:ext cx="5190379" cy="1052753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B02DFB3F-1E22-2C2F-ABC1-961BE837B659}"/>
              </a:ext>
            </a:extLst>
          </p:cNvPr>
          <p:cNvGrpSpPr/>
          <p:nvPr userDrawn="1"/>
        </p:nvGrpSpPr>
        <p:grpSpPr>
          <a:xfrm>
            <a:off x="5789344" y="3835814"/>
            <a:ext cx="1096486" cy="1096486"/>
            <a:chOff x="828675" y="2082036"/>
            <a:chExt cx="841926" cy="841926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1DD830DE-6A88-9F13-C807-2F33A626D87B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3D06FFF1-1EBE-83B3-936F-84C666AA6AAB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82CC4075-2B35-9E5D-9C6E-0AA54A6892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072738" y="4024597"/>
            <a:ext cx="4364189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A00EDACA-67C9-A9FE-8058-D127D6A765C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072738" y="4391743"/>
            <a:ext cx="4364189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B8F9648-F688-A4AB-D6BD-523F183883AB}"/>
              </a:ext>
            </a:extLst>
          </p:cNvPr>
          <p:cNvSpPr txBox="1"/>
          <p:nvPr userDrawn="1"/>
        </p:nvSpPr>
        <p:spPr bwMode="gray">
          <a:xfrm>
            <a:off x="6410325" y="5123063"/>
            <a:ext cx="5190379" cy="1052753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37AEB0D2-8A0A-6A92-88C1-6F06D605175C}"/>
              </a:ext>
            </a:extLst>
          </p:cNvPr>
          <p:cNvGrpSpPr/>
          <p:nvPr userDrawn="1"/>
        </p:nvGrpSpPr>
        <p:grpSpPr>
          <a:xfrm>
            <a:off x="5789344" y="5101196"/>
            <a:ext cx="1096486" cy="1096486"/>
            <a:chOff x="828675" y="2082036"/>
            <a:chExt cx="841926" cy="841926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5BEE77C1-5405-1D50-0790-FD7CAD89F48A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091C7400-A9F1-848F-025B-8D4986A418DD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2" name="Text Placeholder 7">
            <a:extLst>
              <a:ext uri="{FF2B5EF4-FFF2-40B4-BE49-F238E27FC236}">
                <a16:creationId xmlns:a16="http://schemas.microsoft.com/office/drawing/2014/main" id="{91FE1542-0906-C992-8D1B-956F3ACAAE3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072738" y="5271506"/>
            <a:ext cx="4364189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3" name="Text Placeholder 7">
            <a:extLst>
              <a:ext uri="{FF2B5EF4-FFF2-40B4-BE49-F238E27FC236}">
                <a16:creationId xmlns:a16="http://schemas.microsoft.com/office/drawing/2014/main" id="{ADD1825B-9331-3181-8C4A-7E23F76D32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072738" y="5638652"/>
            <a:ext cx="4364189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</p:spTree>
    <p:extLst>
      <p:ext uri="{BB962C8B-B14F-4D97-AF65-F5344CB8AC3E}">
        <p14:creationId xmlns:p14="http://schemas.microsoft.com/office/powerpoint/2010/main" val="878456321"/>
      </p:ext>
    </p:extLst>
  </p:cSld>
  <p:clrMapOvr>
    <a:masterClrMapping/>
  </p:clrMapOvr>
  <p:transition>
    <p:fade/>
  </p:transition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Dark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792430F-1DA2-AE53-147B-3A50E7FA141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614178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7062518-DB3B-18EF-19FA-FB98A15F6855}"/>
              </a:ext>
            </a:extLst>
          </p:cNvPr>
          <p:cNvSpPr/>
          <p:nvPr userDrawn="1"/>
        </p:nvSpPr>
        <p:spPr>
          <a:xfrm>
            <a:off x="4315413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74EE9DE-7168-44E2-8163-C88CEA71BE67}"/>
              </a:ext>
            </a:extLst>
          </p:cNvPr>
          <p:cNvSpPr/>
          <p:nvPr userDrawn="1"/>
        </p:nvSpPr>
        <p:spPr>
          <a:xfrm>
            <a:off x="8027069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2BCD1D3-07DC-79B0-9B2D-8973478FC8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AB6833D-6DCD-90CD-0AB2-1B2884BBDA0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452D60B-4DBB-8665-B01A-B81CB8291C1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066800"/>
            <a:ext cx="3574302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3"/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066800"/>
            <a:ext cx="3581574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87000">
                <a:schemeClr val="tx2">
                  <a:lumMod val="50000"/>
                </a:schemeClr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0668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007679B-DCDF-A64B-B0FC-7BE9527C4F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81024360"/>
      </p:ext>
    </p:extLst>
  </p:cSld>
  <p:clrMapOvr>
    <a:masterClrMapping/>
  </p:clrMapOvr>
  <p:transition>
    <p:fade/>
  </p:transition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Dark + 1 Title + 1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792430F-1DA2-AE53-147B-3A50E7FA141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614178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7062518-DB3B-18EF-19FA-FB98A15F6855}"/>
              </a:ext>
            </a:extLst>
          </p:cNvPr>
          <p:cNvSpPr/>
          <p:nvPr userDrawn="1"/>
        </p:nvSpPr>
        <p:spPr>
          <a:xfrm>
            <a:off x="4315413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74EE9DE-7168-44E2-8163-C88CEA71BE67}"/>
              </a:ext>
            </a:extLst>
          </p:cNvPr>
          <p:cNvSpPr/>
          <p:nvPr userDrawn="1"/>
        </p:nvSpPr>
        <p:spPr>
          <a:xfrm>
            <a:off x="8027069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2BCD1D3-07DC-79B0-9B2D-8973478FC8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AB6833D-6DCD-90CD-0AB2-1B2884BBDA0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452D60B-4DBB-8665-B01A-B81CB8291C1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295400"/>
            <a:ext cx="3574302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3"/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295400"/>
            <a:ext cx="3581574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87000">
                <a:schemeClr val="tx2">
                  <a:lumMod val="50000"/>
                </a:schemeClr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2954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2133601"/>
            <a:ext cx="3352800" cy="3886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2133601"/>
            <a:ext cx="3352800" cy="3886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2133601"/>
            <a:ext cx="3352800" cy="3886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C2D19E8A-BABB-6BF4-B716-E947CBF348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F0BA3B4B-CC96-D9B6-F8E5-AAE306CB87D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20016401"/>
      </p:ext>
    </p:extLst>
  </p:cSld>
  <p:clrMapOvr>
    <a:masterClrMapping/>
  </p:clrMapOvr>
  <p:transition>
    <p:fade/>
  </p:transition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Dark + 2 Titles + 1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792430F-1DA2-AE53-147B-3A50E7FA141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614178" y="1905000"/>
            <a:ext cx="3575304" cy="4267200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7062518-DB3B-18EF-19FA-FB98A15F6855}"/>
              </a:ext>
            </a:extLst>
          </p:cNvPr>
          <p:cNvSpPr/>
          <p:nvPr userDrawn="1"/>
        </p:nvSpPr>
        <p:spPr>
          <a:xfrm>
            <a:off x="4315413" y="1905000"/>
            <a:ext cx="3575304" cy="4267200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74EE9DE-7168-44E2-8163-C88CEA71BE67}"/>
              </a:ext>
            </a:extLst>
          </p:cNvPr>
          <p:cNvSpPr/>
          <p:nvPr userDrawn="1"/>
        </p:nvSpPr>
        <p:spPr>
          <a:xfrm>
            <a:off x="8027069" y="1905000"/>
            <a:ext cx="3575304" cy="4267200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2BCD1D3-07DC-79B0-9B2D-8973478FC8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AB6833D-6DCD-90CD-0AB2-1B2884BBDA0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452D60B-4DBB-8665-B01A-B81CB8291C1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676400"/>
            <a:ext cx="3574302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3"/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676400"/>
            <a:ext cx="3581574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87000">
                <a:schemeClr val="tx2">
                  <a:lumMod val="50000"/>
                </a:schemeClr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6764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2514601"/>
            <a:ext cx="3352800" cy="350519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2514601"/>
            <a:ext cx="3352800" cy="350519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2514601"/>
            <a:ext cx="3352800" cy="350519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DB6F6D5-7CBF-8C0B-8573-1B678805D1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61D92359-B00F-9E88-8D99-1D701CC84D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9028711"/>
      </p:ext>
    </p:extLst>
  </p:cSld>
  <p:clrMapOvr>
    <a:masterClrMapping/>
  </p:clrMapOvr>
  <p:transition>
    <p:fade/>
  </p:transition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C284F4C2-51B1-664C-BDDA-A863ACA1A2EB}"/>
              </a:ext>
            </a:extLst>
          </p:cNvPr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5" name="Graphic 4" descr="Open quotation mark with solid fill">
            <a:extLst>
              <a:ext uri="{FF2B5EF4-FFF2-40B4-BE49-F238E27FC236}">
                <a16:creationId xmlns:a16="http://schemas.microsoft.com/office/drawing/2014/main" id="{42D9FF79-FC02-CC54-62F2-2BB18172FC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353425" y="3305175"/>
            <a:ext cx="5076825" cy="5076825"/>
          </a:xfrm>
          <a:prstGeom prst="rect">
            <a:avLst/>
          </a:prstGeom>
        </p:spPr>
      </p:pic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24E33C48-8C5C-A140-A6F5-DEB2EF6004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74800" y="2590402"/>
            <a:ext cx="9177867" cy="1195916"/>
          </a:xfrm>
        </p:spPr>
        <p:txBody>
          <a:bodyPr anchor="b">
            <a:noAutofit/>
          </a:bodyPr>
          <a:lstStyle>
            <a:lvl1pPr marL="0" indent="0" algn="ctr">
              <a:buNone/>
              <a:defRPr sz="3600" b="1" spc="133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This is where have an awesome quote that makes an impac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474524D-2AD9-17DA-D557-85FF846730FD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3B53EB5-DB6D-794F-4CD6-6980B0217695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pic>
        <p:nvPicPr>
          <p:cNvPr id="4" name="Graphic 3" descr="Open quotation mark with solid fill">
            <a:extLst>
              <a:ext uri="{FF2B5EF4-FFF2-40B4-BE49-F238E27FC236}">
                <a16:creationId xmlns:a16="http://schemas.microsoft.com/office/drawing/2014/main" id="{7A37AA9F-44CA-2ABE-B5EE-0177BACE63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247776" y="-1533525"/>
            <a:ext cx="5076825" cy="5076825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861229B-BA06-66C0-A9EB-E3D1B12066A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74800" y="3890303"/>
            <a:ext cx="9177338" cy="740035"/>
          </a:xfrm>
        </p:spPr>
        <p:txBody>
          <a:bodyPr/>
          <a:lstStyle>
            <a:lvl1pPr marL="0" indent="0" algn="ctr">
              <a:buNone/>
              <a:defRPr i="0" spc="600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lvl="0"/>
            <a:r>
              <a:rPr lang="en-US"/>
              <a:t>Name of quote author here</a:t>
            </a:r>
          </a:p>
        </p:txBody>
      </p:sp>
    </p:spTree>
    <p:extLst>
      <p:ext uri="{BB962C8B-B14F-4D97-AF65-F5344CB8AC3E}">
        <p14:creationId xmlns:p14="http://schemas.microsoft.com/office/powerpoint/2010/main" val="3626828701"/>
      </p:ext>
    </p:extLst>
  </p:cSld>
  <p:clrMapOvr>
    <a:masterClrMapping/>
  </p:clrMapOvr>
  <p:transition>
    <p:fade/>
  </p:transition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7BB0B626-AFCA-FF02-B338-E1FDB980FB1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284F4C2-51B1-664C-BDDA-A863ACA1A2EB}"/>
              </a:ext>
            </a:extLst>
          </p:cNvPr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1722916-E6DD-FDD7-9FFA-FAF6555D26E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4FEF0E-877B-6891-74B7-B1F18855CC7D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pic>
        <p:nvPicPr>
          <p:cNvPr id="2" name="Graphic 1" descr="Open quotation mark with solid fill">
            <a:extLst>
              <a:ext uri="{FF2B5EF4-FFF2-40B4-BE49-F238E27FC236}">
                <a16:creationId xmlns:a16="http://schemas.microsoft.com/office/drawing/2014/main" id="{D428AC57-8E8C-1E41-8358-F4CF7DF86A2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8353425" y="3305175"/>
            <a:ext cx="5076825" cy="5076825"/>
          </a:xfrm>
          <a:prstGeom prst="rect">
            <a:avLst/>
          </a:prstGeom>
        </p:spPr>
      </p:pic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258D444-39A7-FB0E-F48C-31C282215F0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1247776" y="-1533525"/>
            <a:ext cx="5076825" cy="5076825"/>
          </a:xfrm>
          <a:prstGeom prst="rect">
            <a:avLst/>
          </a:prstGeom>
        </p:spPr>
      </p:pic>
      <p:sp>
        <p:nvSpPr>
          <p:cNvPr id="5" name="Text Placeholder 17">
            <a:extLst>
              <a:ext uri="{FF2B5EF4-FFF2-40B4-BE49-F238E27FC236}">
                <a16:creationId xmlns:a16="http://schemas.microsoft.com/office/drawing/2014/main" id="{B5BFCE1B-421A-DF96-36C7-2C5C31C579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74800" y="2590402"/>
            <a:ext cx="9177867" cy="1195916"/>
          </a:xfrm>
        </p:spPr>
        <p:txBody>
          <a:bodyPr anchor="b">
            <a:noAutofit/>
          </a:bodyPr>
          <a:lstStyle>
            <a:lvl1pPr marL="0" indent="0" algn="ctr">
              <a:buNone/>
              <a:defRPr sz="3600" b="1" spc="133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This is where have an awesome quote that makes an impact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076E70B7-FAE9-55F2-2E39-1333922B7D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74800" y="3890303"/>
            <a:ext cx="9177338" cy="740035"/>
          </a:xfrm>
        </p:spPr>
        <p:txBody>
          <a:bodyPr/>
          <a:lstStyle>
            <a:lvl1pPr marL="0" indent="0" algn="ctr">
              <a:buNone/>
              <a:defRPr i="0" spc="600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lvl="0"/>
            <a:r>
              <a:rPr lang="en-US"/>
              <a:t>Name of quote author here</a:t>
            </a:r>
          </a:p>
        </p:txBody>
      </p:sp>
    </p:spTree>
    <p:extLst>
      <p:ext uri="{BB962C8B-B14F-4D97-AF65-F5344CB8AC3E}">
        <p14:creationId xmlns:p14="http://schemas.microsoft.com/office/powerpoint/2010/main" val="419691537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Comparison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3BBC54F1-CEE7-F322-F234-98B55DBECC6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09601" y="10668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5CFCA830-6ACA-2308-1A1B-A7B660A713D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413761" y="10668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44F4CBB1-D6CF-C2E6-8BE4-60FD4D4CD9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17921" y="10668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3986C5C2-74FD-7C69-E621-58FDE74971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1905000"/>
            <a:ext cx="2560320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D1759EBB-330C-546E-7E80-96C72430CEB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1905000"/>
            <a:ext cx="2560320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D59D130-DC7B-1E61-0288-DE244774675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17921" y="1905000"/>
            <a:ext cx="2560320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AFD41E4-81DC-114B-66E1-18D4FCF693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22082" y="1905000"/>
            <a:ext cx="2560320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E7CF578-0237-5A47-94FB-47799206FE4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22082" y="10668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39737488"/>
      </p:ext>
    </p:extLst>
  </p:cSld>
  <p:clrMapOvr>
    <a:masterClrMapping/>
  </p:clrMapOvr>
  <p:transition>
    <p:fade/>
  </p:transition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dos Slide +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96E172-1C24-BBC1-14BE-9F13E6D71ED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4837" y="1343770"/>
            <a:ext cx="5557423" cy="4906218"/>
          </a:xfr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274320" indent="0" algn="ctr">
              <a:buNone/>
              <a:defRPr>
                <a:solidFill>
                  <a:schemeClr val="bg1"/>
                </a:solidFill>
              </a:defRPr>
            </a:lvl2pPr>
            <a:lvl3pPr marL="548640" indent="0" algn="ctr">
              <a:buNone/>
              <a:defRPr>
                <a:solidFill>
                  <a:schemeClr val="bg1"/>
                </a:solidFill>
              </a:defRPr>
            </a:lvl3pPr>
            <a:lvl4pPr marL="822960" indent="0" algn="ctr">
              <a:buNone/>
              <a:defRPr>
                <a:solidFill>
                  <a:schemeClr val="bg1"/>
                </a:solidFill>
              </a:defRPr>
            </a:lvl4pPr>
            <a:lvl5pPr marL="109728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465D391-63E3-A9A4-3CD9-6061A4DA981C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29170" y="1419598"/>
            <a:ext cx="4754562" cy="4754563"/>
          </a:xfrm>
          <a:prstGeom prst="ellipse">
            <a:avLst/>
          </a:prstGeom>
          <a:solidFill>
            <a:schemeClr val="tx1"/>
          </a:solidFill>
          <a:ln w="31750">
            <a:gradFill>
              <a:gsLst>
                <a:gs pos="0">
                  <a:schemeClr val="accent5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8492ADA-C248-FE1F-4CF3-DBCEA252440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25088" y="2082800"/>
            <a:ext cx="1328737" cy="477838"/>
          </a:xfrm>
        </p:spPr>
        <p:txBody>
          <a:bodyPr anchor="b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0526591"/>
      </p:ext>
    </p:extLst>
  </p:cSld>
  <p:clrMapOvr>
    <a:masterClrMapping/>
  </p:clrMapOvr>
  <p:transition>
    <p:fade/>
  </p:transition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dos Slide +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96E172-1C24-BBC1-14BE-9F13E6D71ED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24978" y="1343770"/>
            <a:ext cx="5557423" cy="4906218"/>
          </a:xfr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274320" indent="0" algn="ctr">
              <a:buNone/>
              <a:defRPr>
                <a:solidFill>
                  <a:schemeClr val="bg1"/>
                </a:solidFill>
              </a:defRPr>
            </a:lvl2pPr>
            <a:lvl3pPr marL="548640" indent="0" algn="ctr">
              <a:buNone/>
              <a:defRPr>
                <a:solidFill>
                  <a:schemeClr val="bg1"/>
                </a:solidFill>
              </a:defRPr>
            </a:lvl3pPr>
            <a:lvl4pPr marL="822960" indent="0" algn="ctr">
              <a:buNone/>
              <a:defRPr>
                <a:solidFill>
                  <a:schemeClr val="bg1"/>
                </a:solidFill>
              </a:defRPr>
            </a:lvl4pPr>
            <a:lvl5pPr marL="109728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465D391-63E3-A9A4-3CD9-6061A4DA981C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09600" y="1419598"/>
            <a:ext cx="4754562" cy="4754563"/>
          </a:xfrm>
          <a:prstGeom prst="ellipse">
            <a:avLst/>
          </a:prstGeom>
          <a:solidFill>
            <a:schemeClr val="tx1"/>
          </a:solidFill>
          <a:ln w="31750">
            <a:gradFill>
              <a:gsLst>
                <a:gs pos="0">
                  <a:schemeClr val="accent5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8492ADA-C248-FE1F-4CF3-DBCEA252440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600" y="2082800"/>
            <a:ext cx="1328737" cy="477838"/>
          </a:xfrm>
        </p:spPr>
        <p:txBody>
          <a:bodyPr anchor="b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57076290"/>
      </p:ext>
    </p:extLst>
  </p:cSld>
  <p:clrMapOvr>
    <a:masterClrMapping/>
  </p:clrMapOvr>
  <p:transition>
    <p:fade/>
  </p:transition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 + Big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3CD3EAC5-F9B1-DF31-E12E-C860B243E5C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3200400"/>
            <a:ext cx="5325533" cy="30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274320" indent="0" algn="ctr">
              <a:buNone/>
              <a:defRPr sz="1400">
                <a:solidFill>
                  <a:schemeClr val="bg1"/>
                </a:solidFill>
              </a:defRPr>
            </a:lvl2pPr>
            <a:lvl3pPr marL="548640" indent="0" algn="ctr">
              <a:buNone/>
              <a:defRPr sz="1200">
                <a:solidFill>
                  <a:schemeClr val="bg1"/>
                </a:solidFill>
              </a:defRPr>
            </a:lvl3pPr>
            <a:lvl4pPr marL="822960" indent="0" algn="ctr">
              <a:buNone/>
              <a:defRPr sz="1100">
                <a:solidFill>
                  <a:schemeClr val="bg1"/>
                </a:solidFill>
              </a:defRPr>
            </a:lvl4pPr>
            <a:lvl5pPr marL="1097280" indent="0" algn="ct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4F7B165-818F-D0D6-E305-31F244D41A7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3200400"/>
            <a:ext cx="5325533" cy="30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274320" indent="0" algn="ctr">
              <a:buNone/>
              <a:defRPr sz="1400">
                <a:solidFill>
                  <a:schemeClr val="bg1"/>
                </a:solidFill>
              </a:defRPr>
            </a:lvl2pPr>
            <a:lvl3pPr marL="548640" indent="0" algn="ctr">
              <a:buNone/>
              <a:defRPr sz="1200">
                <a:solidFill>
                  <a:schemeClr val="bg1"/>
                </a:solidFill>
              </a:defRPr>
            </a:lvl3pPr>
            <a:lvl4pPr marL="822960" indent="0" algn="ctr">
              <a:buNone/>
              <a:defRPr sz="1100">
                <a:solidFill>
                  <a:schemeClr val="bg1"/>
                </a:solidFill>
              </a:defRPr>
            </a:lvl4pPr>
            <a:lvl5pPr marL="1097280" indent="0" algn="ct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9B1B823-60D8-CE46-7517-958CFBCFEFF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600" y="1536192"/>
            <a:ext cx="5326063" cy="1283208"/>
          </a:xfrm>
        </p:spPr>
        <p:txBody>
          <a:bodyPr/>
          <a:lstStyle>
            <a:lvl1pPr marL="0" indent="0" algn="ctr">
              <a:buNone/>
              <a:defRPr sz="10000" b="1" i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0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A1724984-5D7D-D972-7F3E-C5F7F7D38C2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56603" y="1536192"/>
            <a:ext cx="5326063" cy="1283208"/>
          </a:xfrm>
        </p:spPr>
        <p:txBody>
          <a:bodyPr/>
          <a:lstStyle>
            <a:lvl1pPr marL="0" indent="0" algn="ctr">
              <a:buNone/>
              <a:defRPr sz="10000" b="1" i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0</a:t>
            </a:r>
          </a:p>
        </p:txBody>
      </p:sp>
    </p:spTree>
    <p:extLst>
      <p:ext uri="{BB962C8B-B14F-4D97-AF65-F5344CB8AC3E}">
        <p14:creationId xmlns:p14="http://schemas.microsoft.com/office/powerpoint/2010/main" val="2575472220"/>
      </p:ext>
    </p:extLst>
  </p:cSld>
  <p:clrMapOvr>
    <a:masterClrMapping/>
  </p:clrMapOvr>
  <p:transition>
    <p:fade/>
  </p:transition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 + Big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A24E0A52-23E0-05FB-D66B-EC777B13498C}"/>
              </a:ext>
            </a:extLst>
          </p:cNvPr>
          <p:cNvSpPr/>
          <p:nvPr userDrawn="1"/>
        </p:nvSpPr>
        <p:spPr>
          <a:xfrm>
            <a:off x="-3200400" y="1295400"/>
            <a:ext cx="9220200" cy="9220200"/>
          </a:xfrm>
          <a:prstGeom prst="ellipse">
            <a:avLst/>
          </a:prstGeom>
          <a:gradFill>
            <a:gsLst>
              <a:gs pos="99000">
                <a:schemeClr val="accent2"/>
              </a:gs>
              <a:gs pos="0">
                <a:schemeClr val="accent5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4F7B165-818F-D0D6-E305-31F244D41A7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72200" y="2362200"/>
            <a:ext cx="5325533" cy="1905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274320" indent="0" algn="ctr">
              <a:buNone/>
              <a:defRPr sz="1400">
                <a:solidFill>
                  <a:schemeClr val="bg1"/>
                </a:solidFill>
              </a:defRPr>
            </a:lvl2pPr>
            <a:lvl3pPr marL="548640" indent="0" algn="ctr">
              <a:buNone/>
              <a:defRPr sz="1200">
                <a:solidFill>
                  <a:schemeClr val="bg1"/>
                </a:solidFill>
              </a:defRPr>
            </a:lvl3pPr>
            <a:lvl4pPr marL="822960" indent="0" algn="ctr">
              <a:buNone/>
              <a:defRPr sz="1100">
                <a:solidFill>
                  <a:schemeClr val="bg1"/>
                </a:solidFill>
              </a:defRPr>
            </a:lvl4pPr>
            <a:lvl5pPr marL="1097280" indent="0" algn="ct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5791957F-5F46-299A-A09D-E57E20BB811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600" y="2895600"/>
            <a:ext cx="8229600" cy="193104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buNone/>
              <a:defRPr sz="20000" b="1">
                <a:solidFill>
                  <a:schemeClr val="bg1"/>
                </a:solidFill>
              </a:defRPr>
            </a:lvl1pPr>
            <a:lvl2pPr algn="ctr">
              <a:defRPr sz="1400">
                <a:solidFill>
                  <a:schemeClr val="bg1"/>
                </a:solidFill>
              </a:defRPr>
            </a:lvl2pPr>
            <a:lvl3pPr algn="ctr">
              <a:defRPr sz="1200">
                <a:solidFill>
                  <a:schemeClr val="bg1"/>
                </a:solidFill>
              </a:defRPr>
            </a:lvl3pPr>
            <a:lvl4pPr algn="ctr">
              <a:defRPr sz="1100">
                <a:solidFill>
                  <a:schemeClr val="bg1"/>
                </a:solidFill>
              </a:defRPr>
            </a:lvl4pPr>
            <a:lvl5pPr algn="ctr"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00%</a:t>
            </a:r>
          </a:p>
        </p:txBody>
      </p:sp>
    </p:spTree>
    <p:extLst>
      <p:ext uri="{BB962C8B-B14F-4D97-AF65-F5344CB8AC3E}">
        <p14:creationId xmlns:p14="http://schemas.microsoft.com/office/powerpoint/2010/main" val="2720907067"/>
      </p:ext>
    </p:extLst>
  </p:cSld>
  <p:clrMapOvr>
    <a:masterClrMapping/>
  </p:clrMapOvr>
  <p:transition>
    <p:fade/>
  </p:transition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er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2346235-96DC-F047-8AF3-35DB5A5337D7}"/>
              </a:ext>
            </a:extLst>
          </p:cNvPr>
          <p:cNvSpPr/>
          <p:nvPr userDrawn="1"/>
        </p:nvSpPr>
        <p:spPr>
          <a:xfrm>
            <a:off x="1" y="0"/>
            <a:ext cx="12191999" cy="6864626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685195505"/>
      </p:ext>
    </p:extLst>
  </p:cSld>
  <p:clrMapOvr>
    <a:masterClrMapping/>
  </p:clrMapOvr>
  <p:transition>
    <p:fade/>
  </p:transition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157776710"/>
      </p:ext>
    </p:extLst>
  </p:cSld>
  <p:clrMapOvr>
    <a:masterClrMapping/>
  </p:clrMapOvr>
  <p:transition>
    <p:fade/>
  </p:transition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rry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23F4591-3A53-02BC-4731-0C88ABAFB3B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8000">
                <a:schemeClr val="accent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593149701"/>
      </p:ext>
    </p:extLst>
  </p:cSld>
  <p:clrMapOvr>
    <a:masterClrMapping/>
  </p:clrMapOvr>
  <p:transition>
    <p:fade/>
  </p:transition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er Blue Background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2346235-96DC-F047-8AF3-35DB5A5337D7}"/>
              </a:ext>
            </a:extLst>
          </p:cNvPr>
          <p:cNvSpPr/>
          <p:nvPr userDrawn="1"/>
        </p:nvSpPr>
        <p:spPr>
          <a:xfrm>
            <a:off x="1" y="0"/>
            <a:ext cx="12191999" cy="6864626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07B360F4-EEB8-0A56-E84A-F2F922FB9A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10972801" cy="4918364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>
              <a:defRPr sz="1600">
                <a:solidFill>
                  <a:schemeClr val="bg1"/>
                </a:solidFill>
              </a:defRPr>
            </a:lvl1pPr>
            <a:lvl2pPr marL="457200" indent="-182880">
              <a:spcBef>
                <a:spcPts val="1200"/>
              </a:spcBef>
              <a:defRPr sz="1400">
                <a:solidFill>
                  <a:schemeClr val="bg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bg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bg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72922405"/>
      </p:ext>
    </p:extLst>
  </p:cSld>
  <p:clrMapOvr>
    <a:masterClrMapping/>
  </p:clrMapOvr>
  <p:transition>
    <p:fade/>
  </p:transition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E4651F25-37DE-C32D-E024-5F1D339C70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10972801" cy="4918364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>
              <a:defRPr sz="1600">
                <a:solidFill>
                  <a:schemeClr val="bg1"/>
                </a:solidFill>
              </a:defRPr>
            </a:lvl1pPr>
            <a:lvl2pPr marL="457200" indent="-182880">
              <a:spcBef>
                <a:spcPts val="1200"/>
              </a:spcBef>
              <a:defRPr sz="1400">
                <a:solidFill>
                  <a:schemeClr val="bg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bg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bg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14405899"/>
      </p:ext>
    </p:extLst>
  </p:cSld>
  <p:clrMapOvr>
    <a:masterClrMapping/>
  </p:clrMapOvr>
  <p:transition>
    <p:fade/>
  </p:transition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rry Background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23F4591-3A53-02BC-4731-0C88ABAFB3B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8000">
                <a:schemeClr val="accent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D9D84FF4-9330-F3BA-8C5D-50FC649EBD8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10972801" cy="4918364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>
              <a:defRPr sz="1600">
                <a:solidFill>
                  <a:schemeClr val="bg1"/>
                </a:solidFill>
              </a:defRPr>
            </a:lvl1pPr>
            <a:lvl2pPr marL="457200" indent="-182880">
              <a:spcBef>
                <a:spcPts val="1200"/>
              </a:spcBef>
              <a:defRPr sz="1400">
                <a:solidFill>
                  <a:schemeClr val="bg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bg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bg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7791060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+ Client Cover - 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788272C-F416-AB05-9E56-3837AF264644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47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5269655" y="1778797"/>
            <a:ext cx="1" cy="46995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ACF30A2-7E5B-4506-9CE1-606645C8EA6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420170" y="1116709"/>
            <a:ext cx="3998384" cy="16086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client logo</a:t>
            </a: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AA3DA5AD-B273-674D-A025-EFD62CF74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36999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F9A9321-5F6E-794B-A1FA-CFC44158EC2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1" y="5358825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 descr="Text, logo&#10;&#10;Description automatically generated">
            <a:extLst>
              <a:ext uri="{FF2B5EF4-FFF2-40B4-BE49-F238E27FC236}">
                <a16:creationId xmlns:a16="http://schemas.microsoft.com/office/drawing/2014/main" id="{B14DB16A-B76A-41D4-8E92-479134319E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0939" y="1630081"/>
            <a:ext cx="4482540" cy="767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1315228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cons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829DBB59-536C-AD41-8966-3DEC3D15994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711113" y="1641475"/>
            <a:ext cx="1479550" cy="1479550"/>
          </a:xfrm>
          <a:prstGeom prst="ellipse">
            <a:avLst/>
          </a:prstGeom>
          <a:gradFill>
            <a:gsLst>
              <a:gs pos="8000">
                <a:schemeClr val="tx2"/>
              </a:gs>
              <a:gs pos="100000">
                <a:schemeClr val="accent3"/>
              </a:gs>
            </a:gsLst>
            <a:path path="circle">
              <a:fillToRect l="100000" t="100000"/>
            </a:path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8FBC8B9B-C6AC-7342-918F-C8BFE651B0A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5354138" y="1641475"/>
            <a:ext cx="1479550" cy="1479550"/>
          </a:xfrm>
          <a:prstGeom prst="ellipse">
            <a:avLst/>
          </a:prstGeom>
          <a:gradFill flip="none" rotWithShape="1">
            <a:gsLst>
              <a:gs pos="8000">
                <a:schemeClr val="tx2"/>
              </a:gs>
              <a:gs pos="100000">
                <a:schemeClr val="accent3"/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49661A0-0D31-DB46-A6BF-AF0B400BB3D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2003425" y="1641475"/>
            <a:ext cx="1479550" cy="1479550"/>
          </a:xfrm>
          <a:prstGeom prst="ellipse">
            <a:avLst/>
          </a:prstGeom>
          <a:gradFill>
            <a:gsLst>
              <a:gs pos="8000">
                <a:schemeClr val="tx2"/>
              </a:gs>
              <a:gs pos="100000">
                <a:schemeClr val="accent3"/>
              </a:gs>
            </a:gsLst>
            <a:path path="circle">
              <a:fillToRect l="100000" t="100000"/>
            </a:path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6662A63-9812-4216-B3CD-AF5EA9A59D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75201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A3B5F99-C322-4FA5-9845-E33F70AAC0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28000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4CFCBFC-A2CC-4BC6-8876-99FC2869D1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22400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D4B7AE-53A8-49D3-B515-48B51CA507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422400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D41FF3-FBE3-4278-9A28-B609FBF7A0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75201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A7AF931-B64A-4B5C-B20A-CD425D1F5F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28000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2623D44-8E8D-5F42-AEAD-98694EB779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2A2606BE-91C7-5A42-A12B-6AD91DD250E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32276243"/>
      </p:ext>
    </p:extLst>
  </p:cSld>
  <p:clrMapOvr>
    <a:masterClrMapping/>
  </p:clrMapOvr>
  <p:transition>
    <p:fade/>
  </p:transition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lue Background + 2 Titles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2346235-96DC-F047-8AF3-35DB5A5337D7}"/>
              </a:ext>
            </a:extLst>
          </p:cNvPr>
          <p:cNvSpPr/>
          <p:nvPr userDrawn="1"/>
        </p:nvSpPr>
        <p:spPr>
          <a:xfrm>
            <a:off x="1" y="0"/>
            <a:ext cx="12191999" cy="6864626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9040702C-77D5-B560-2787-B331D250CC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52968979-0A71-8ACF-7727-850E7388C6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E480C892-D281-B5C3-38B9-D8BF5C80FD7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80618"/>
            <a:ext cx="10972801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95000564"/>
      </p:ext>
    </p:extLst>
  </p:cSld>
  <p:clrMapOvr>
    <a:masterClrMapping/>
  </p:clrMapOvr>
  <p:transition>
    <p:fade/>
  </p:transition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 + 2 Titles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9767BD3-AC2B-EDAC-70C7-1239201EC5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04E97780-7865-7A3D-1178-E6D02C0CBB6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9049E63F-7F98-83A7-0AB9-1EDC445EB4A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80618"/>
            <a:ext cx="10972801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2048097"/>
      </p:ext>
    </p:extLst>
  </p:cSld>
  <p:clrMapOvr>
    <a:masterClrMapping/>
  </p:clrMapOvr>
  <p:transition>
    <p:fade/>
  </p:transition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rry Background + 2 Titles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23F4591-3A53-02BC-4731-0C88ABAFB3B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8000">
                <a:schemeClr val="accent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749DC98-ECFA-650A-D053-085675B71F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DCB15AC5-0A49-0F66-BC59-74024579EFA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37FE0F5-4D4D-15C2-2532-C07FA7B1C30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80618"/>
            <a:ext cx="10972801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50668814"/>
      </p:ext>
    </p:extLst>
  </p:cSld>
  <p:clrMapOvr>
    <a:masterClrMapping/>
  </p:clrMapOvr>
  <p:transition>
    <p:fade/>
  </p:transition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t Mockup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FF6C2B9-A5A0-4244-897B-ACB749482872}"/>
              </a:ext>
            </a:extLst>
          </p:cNvPr>
          <p:cNvSpPr/>
          <p:nvPr userDrawn="1"/>
        </p:nvSpPr>
        <p:spPr>
          <a:xfrm>
            <a:off x="-1" y="0"/>
            <a:ext cx="2611891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121719B-4C87-414F-ADAF-F4493E094602}"/>
              </a:ext>
            </a:extLst>
          </p:cNvPr>
          <p:cNvSpPr/>
          <p:nvPr userDrawn="1"/>
        </p:nvSpPr>
        <p:spPr>
          <a:xfrm>
            <a:off x="-1" y="5867400"/>
            <a:ext cx="12192001" cy="990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326135-6F83-124D-917A-CD0F6AC920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20747" y="358909"/>
            <a:ext cx="6161654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E15853B-9D76-FD45-80BC-AB9AB1A932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20747" y="793111"/>
            <a:ext cx="6161654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E65C5A9-95A5-AD4D-8146-1B986E7DC4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6627" y="121782"/>
            <a:ext cx="4953000" cy="6393874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BFA5053-5737-AB44-939C-A63893F8487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78163" y="594360"/>
            <a:ext cx="4114800" cy="546811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0C2E6508-A34A-434F-B7F1-DE1263A8C9F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421409" y="1396017"/>
            <a:ext cx="6160992" cy="4166583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1" name="Picture 2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FE9F5BA-0479-1C45-AB86-EEF7DBFEBEC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C28A167-1EAD-6E6E-297E-4F75177BB61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BEA947E-BEDC-8592-F749-9650C22CAC7F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09088759"/>
      </p:ext>
    </p:extLst>
  </p:cSld>
  <p:clrMapOvr>
    <a:masterClrMapping/>
  </p:clrMapOvr>
  <p:transition>
    <p:fade/>
  </p:transition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t Mockup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FF6C2B9-A5A0-4244-897B-ACB749482872}"/>
              </a:ext>
            </a:extLst>
          </p:cNvPr>
          <p:cNvSpPr/>
          <p:nvPr userDrawn="1"/>
        </p:nvSpPr>
        <p:spPr>
          <a:xfrm rot="10800000">
            <a:off x="9580109" y="0"/>
            <a:ext cx="2611891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121719B-4C87-414F-ADAF-F4493E094602}"/>
              </a:ext>
            </a:extLst>
          </p:cNvPr>
          <p:cNvSpPr/>
          <p:nvPr userDrawn="1"/>
        </p:nvSpPr>
        <p:spPr>
          <a:xfrm>
            <a:off x="-1" y="5867400"/>
            <a:ext cx="12192001" cy="990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326135-6F83-124D-917A-CD0F6AC920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8938" y="358909"/>
            <a:ext cx="6161654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E15853B-9D76-FD45-80BC-AB9AB1A932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8938" y="793111"/>
            <a:ext cx="6161654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E65C5A9-95A5-AD4D-8146-1B986E7DC4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58000" y="121782"/>
            <a:ext cx="4953000" cy="6393874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BFA5053-5737-AB44-939C-A63893F8487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289536" y="594360"/>
            <a:ext cx="4114800" cy="546811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0C2E6508-A34A-434F-B7F1-DE1263A8C9F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396017"/>
            <a:ext cx="6160992" cy="4166583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1" name="Picture 2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FE9F5BA-0479-1C45-AB86-EEF7DBFEBEC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C28A167-1EAD-6E6E-297E-4F75177BB61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BEA947E-BEDC-8592-F749-9650C22CAC7F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033828515"/>
      </p:ext>
    </p:extLst>
  </p:cSld>
  <p:clrMapOvr>
    <a:masterClrMapping/>
  </p:clrMapOvr>
  <p:transition>
    <p:fade/>
  </p:transition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Mockup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FF6C2B9-A5A0-4244-897B-ACB749482872}"/>
              </a:ext>
            </a:extLst>
          </p:cNvPr>
          <p:cNvSpPr/>
          <p:nvPr userDrawn="1"/>
        </p:nvSpPr>
        <p:spPr>
          <a:xfrm>
            <a:off x="-1" y="0"/>
            <a:ext cx="2611893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121719B-4C87-414F-ADAF-F4493E094602}"/>
              </a:ext>
            </a:extLst>
          </p:cNvPr>
          <p:cNvSpPr/>
          <p:nvPr userDrawn="1"/>
        </p:nvSpPr>
        <p:spPr>
          <a:xfrm>
            <a:off x="-1" y="6144767"/>
            <a:ext cx="12192001" cy="71323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326135-6F83-124D-917A-CD0F6AC920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24200" y="358909"/>
            <a:ext cx="8458201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E15853B-9D76-FD45-80BC-AB9AB1A932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24200" y="793111"/>
            <a:ext cx="84582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21" name="Picture 2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FE9F5BA-0479-1C45-AB86-EEF7DBFEBE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E7F4362-9E29-0B4B-840A-E9C17E7CE53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22647" y="854590"/>
            <a:ext cx="8482869" cy="5775137"/>
          </a:xfrm>
          <a:prstGeom prst="rect">
            <a:avLst/>
          </a:prstGeom>
        </p:spPr>
      </p:pic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E1EE149A-D7AD-124E-B56D-4BF9B3AF4A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772399" y="1396016"/>
            <a:ext cx="3810001" cy="4318983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F1D11B7-7698-EB45-8A1F-6F65350E345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58368" y="1524000"/>
            <a:ext cx="6720840" cy="420624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4736932-0A61-0815-2AF8-05E2DADA5A2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7FD2A27-AF48-1EF5-059A-C30BD87B57EB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304554920"/>
      </p:ext>
    </p:extLst>
  </p:cSld>
  <p:clrMapOvr>
    <a:masterClrMapping/>
  </p:clrMapOvr>
  <p:transition>
    <p:fade/>
  </p:transition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Mockup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FF6C2B9-A5A0-4244-897B-ACB749482872}"/>
              </a:ext>
            </a:extLst>
          </p:cNvPr>
          <p:cNvSpPr/>
          <p:nvPr userDrawn="1"/>
        </p:nvSpPr>
        <p:spPr>
          <a:xfrm rot="10800000">
            <a:off x="9580107" y="0"/>
            <a:ext cx="2611893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121719B-4C87-414F-ADAF-F4493E094602}"/>
              </a:ext>
            </a:extLst>
          </p:cNvPr>
          <p:cNvSpPr/>
          <p:nvPr userDrawn="1"/>
        </p:nvSpPr>
        <p:spPr>
          <a:xfrm>
            <a:off x="-1" y="6144767"/>
            <a:ext cx="12192001" cy="71323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326135-6F83-124D-917A-CD0F6AC920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8458201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E15853B-9D76-FD45-80BC-AB9AB1A932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793111"/>
            <a:ext cx="84582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21" name="Picture 2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FE9F5BA-0479-1C45-AB86-EEF7DBFEBE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E7F4362-9E29-0B4B-840A-E9C17E7CE53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86200" y="838200"/>
            <a:ext cx="8482869" cy="5775137"/>
          </a:xfrm>
          <a:prstGeom prst="rect">
            <a:avLst/>
          </a:prstGeom>
        </p:spPr>
      </p:pic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E1EE149A-D7AD-124E-B56D-4BF9B3AF4A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396016"/>
            <a:ext cx="3810001" cy="4318983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F1D11B7-7698-EB45-8A1F-6F65350E345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767215" y="1507610"/>
            <a:ext cx="6720840" cy="420624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4736932-0A61-0815-2AF8-05E2DADA5A2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7FD2A27-AF48-1EF5-059A-C30BD87B57EB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907823540"/>
      </p:ext>
    </p:extLst>
  </p:cSld>
  <p:clrMapOvr>
    <a:masterClrMapping/>
  </p:clrMapOvr>
  <p:transition>
    <p:fade/>
  </p:transition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ackground + Dev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639D6D6-79E5-07CF-75EC-FEF900350504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1600200" y="1447800"/>
            <a:ext cx="6400800" cy="42672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A016D250-85C4-F9DF-2B36-B683BF8DFB02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534400" y="2362200"/>
            <a:ext cx="1524000" cy="32004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D048923F-0227-6A14-AF57-2034EE54D8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4400" y="1346738"/>
            <a:ext cx="7772400" cy="4825462"/>
          </a:xfrm>
          <a:prstGeom prst="rect">
            <a:avLst/>
          </a:prstGeom>
        </p:spPr>
      </p:pic>
      <p:pic>
        <p:nvPicPr>
          <p:cNvPr id="3" name="Picture 2" descr="A black screen with white lines&#10;&#10;Description automatically generated">
            <a:extLst>
              <a:ext uri="{FF2B5EF4-FFF2-40B4-BE49-F238E27FC236}">
                <a16:creationId xmlns:a16="http://schemas.microsoft.com/office/drawing/2014/main" id="{C6836275-4334-F0B4-EF60-FAF6935C121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8200" y="2286000"/>
            <a:ext cx="1700364" cy="335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8689939"/>
      </p:ext>
    </p:extLst>
  </p:cSld>
  <p:clrMapOvr>
    <a:masterClrMapping/>
  </p:clrMapOvr>
  <p:transition>
    <p:fade/>
  </p:transition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Wave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blue surface&#10;&#10;Description automatically generated">
            <a:extLst>
              <a:ext uri="{FF2B5EF4-FFF2-40B4-BE49-F238E27FC236}">
                <a16:creationId xmlns:a16="http://schemas.microsoft.com/office/drawing/2014/main" id="{C239EA34-EC10-D4AD-41B2-32DC2ECE4CC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duotone>
              <a:prstClr val="black"/>
              <a:schemeClr val="accent3">
                <a:tint val="45000"/>
                <a:satMod val="400000"/>
              </a:schemeClr>
            </a:duotone>
            <a:alphaModFix amt="3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7000"/>
                    </a14:imgEffect>
                    <a14:imgEffect>
                      <a14:colorTemperature colorTemp="5993"/>
                    </a14:imgEffect>
                    <a14:imgEffect>
                      <a14:saturation sat="160000"/>
                    </a14:imgEffect>
                    <a14:imgEffect>
                      <a14:brightnessContrast bright="-1000" contrast="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45728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64DFFD7-38A6-AD43-A711-AD86331D14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97263" y="2245200"/>
            <a:ext cx="5197475" cy="688975"/>
          </a:xfrm>
        </p:spPr>
        <p:txBody>
          <a:bodyPr anchor="b"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algn="ctr"/>
            <a:r>
              <a:rPr lang="en-US" sz="2400" i="0">
                <a:solidFill>
                  <a:schemeClr val="bg1"/>
                </a:solidFill>
                <a:latin typeface="Arial" panose="020B0604020202020204" pitchFamily="34" charset="0"/>
                <a:ea typeface="+mj-lt"/>
                <a:cs typeface="Arial" panose="020B0604020202020204" pitchFamily="34" charset="0"/>
              </a:rPr>
              <a:t>Divider Slide: Headline Goes Here Headline Goes He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FDF02D-188F-7544-89B9-99DABE88D94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6988" y="3886200"/>
            <a:ext cx="4518025" cy="533400"/>
          </a:xfrm>
        </p:spPr>
        <p:txBody>
          <a:bodyPr/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lvl="0"/>
            <a:r>
              <a:rPr lang="en-US"/>
              <a:t>Subhead goes her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1135782-6BC8-674D-89DB-AFE5E59E4EF5}"/>
              </a:ext>
            </a:extLst>
          </p:cNvPr>
          <p:cNvCxnSpPr>
            <a:cxnSpLocks/>
          </p:cNvCxnSpPr>
          <p:nvPr userDrawn="1"/>
        </p:nvCxnSpPr>
        <p:spPr>
          <a:xfrm flipV="1">
            <a:off x="3837243" y="3427080"/>
            <a:ext cx="4517510" cy="3840"/>
          </a:xfrm>
          <a:prstGeom prst="line">
            <a:avLst/>
          </a:prstGeom>
          <a:ln w="44450">
            <a:gradFill flip="none" rotWithShape="1">
              <a:gsLst>
                <a:gs pos="2000">
                  <a:schemeClr val="accent3"/>
                </a:gs>
                <a:gs pos="84000">
                  <a:schemeClr val="accent2"/>
                </a:gs>
              </a:gsLst>
              <a:lin ang="10800000" scaled="1"/>
              <a:tileRect/>
            </a:gra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0B46827F-5BEF-B5B9-634E-7F970545A2E9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CAC1DA5-A754-7D92-1C8D-2983478194AF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890741416"/>
      </p:ext>
    </p:extLst>
  </p:cSld>
  <p:clrMapOvr>
    <a:masterClrMapping/>
  </p:clrMapOvr>
  <p:transition>
    <p:fade/>
  </p:transition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Globe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planet with lights&#10;&#10;Description automatically generated with medium confidence">
            <a:extLst>
              <a:ext uri="{FF2B5EF4-FFF2-40B4-BE49-F238E27FC236}">
                <a16:creationId xmlns:a16="http://schemas.microsoft.com/office/drawing/2014/main" id="{25CBDD77-5E34-59C2-D236-F0E47DCABF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5000"/>
          </a:blip>
          <a:srcRect l="21250" t="37504" r="21127" b="912"/>
          <a:stretch/>
        </p:blipFill>
        <p:spPr>
          <a:xfrm>
            <a:off x="0" y="-1920"/>
            <a:ext cx="12192000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64DFFD7-38A6-AD43-A711-AD86331D14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97263" y="2245200"/>
            <a:ext cx="5197475" cy="688975"/>
          </a:xfrm>
        </p:spPr>
        <p:txBody>
          <a:bodyPr anchor="b"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algn="ctr"/>
            <a:r>
              <a:rPr lang="en-US" sz="2400" i="0">
                <a:solidFill>
                  <a:schemeClr val="bg1"/>
                </a:solidFill>
                <a:latin typeface="Arial" panose="020B0604020202020204" pitchFamily="34" charset="0"/>
                <a:ea typeface="+mj-lt"/>
                <a:cs typeface="Arial" panose="020B0604020202020204" pitchFamily="34" charset="0"/>
              </a:rPr>
              <a:t>Divider Slide: Headline Goes Here Headline Goes He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FDF02D-188F-7544-89B9-99DABE88D94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6988" y="3886200"/>
            <a:ext cx="4518025" cy="533400"/>
          </a:xfrm>
        </p:spPr>
        <p:txBody>
          <a:bodyPr/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lvl="0"/>
            <a:r>
              <a:rPr lang="en-US"/>
              <a:t>Subhead goes her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1234505-59D7-E147-8DED-E1ECE7143867}"/>
              </a:ext>
            </a:extLst>
          </p:cNvPr>
          <p:cNvCxnSpPr>
            <a:cxnSpLocks/>
          </p:cNvCxnSpPr>
          <p:nvPr userDrawn="1"/>
        </p:nvCxnSpPr>
        <p:spPr>
          <a:xfrm flipV="1">
            <a:off x="3837243" y="3427080"/>
            <a:ext cx="4517510" cy="3840"/>
          </a:xfrm>
          <a:prstGeom prst="line">
            <a:avLst/>
          </a:prstGeom>
          <a:ln w="44450">
            <a:gradFill flip="none" rotWithShape="1">
              <a:gsLst>
                <a:gs pos="2000">
                  <a:schemeClr val="accent3"/>
                </a:gs>
                <a:gs pos="84000">
                  <a:schemeClr val="accent2"/>
                </a:gs>
              </a:gsLst>
              <a:lin ang="10800000" scaled="1"/>
              <a:tileRect/>
            </a:gra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C2643C2E-F4BF-3D5B-6718-BFD4C97EC71D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DA8FC35-70DA-318D-2722-01FA6A813A6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342641527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cons -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1272D79-97CF-C6E2-579A-7F02654530E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829DBB59-536C-AD41-8966-3DEC3D15994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711113" y="1641475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8FBC8B9B-C6AC-7342-918F-C8BFE651B0A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5354138" y="1641475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49661A0-0D31-DB46-A6BF-AF0B400BB3D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2003425" y="1641475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6662A63-9812-4216-B3CD-AF5EA9A59D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75201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A3B5F99-C322-4FA5-9845-E33F70AAC0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28000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4CFCBFC-A2CC-4BC6-8876-99FC2869D1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22400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D4B7AE-53A8-49D3-B515-48B51CA507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422400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D41FF3-FBE3-4278-9A28-B609FBF7A0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75201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A7AF931-B64A-4B5C-B20A-CD425D1F5F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28000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2623D44-8E8D-5F42-AEAD-98694EB779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2A2606BE-91C7-5A42-A12B-6AD91DD250E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Picture 5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D8A6C9D8-8609-111E-6490-BEC47A256C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D7A943A-C0C8-A899-2327-9C6BEA0FF95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5A70755-217E-581B-95D9-C8B8EF2A834A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81748127"/>
      </p:ext>
    </p:extLst>
  </p:cSld>
  <p:clrMapOvr>
    <a:masterClrMapping/>
  </p:clrMapOvr>
  <p:transition>
    <p:fade/>
  </p:transition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+ Berry Divider Slide - Right Abstrac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E68ADEE-49A6-774B-B95D-853BD61A8B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 descr="A blue and pink gradient on a black background&#10;&#10;Description automatically generated">
            <a:extLst>
              <a:ext uri="{FF2B5EF4-FFF2-40B4-BE49-F238E27FC236}">
                <a16:creationId xmlns:a16="http://schemas.microsoft.com/office/drawing/2014/main" id="{DEB2BD91-A1A1-658C-905C-59A3E7534D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8027"/>
          <a:stretch/>
        </p:blipFill>
        <p:spPr>
          <a:xfrm>
            <a:off x="3810001" y="1"/>
            <a:ext cx="8382000" cy="6858000"/>
          </a:xfrm>
          <a:prstGeom prst="rect">
            <a:avLst/>
          </a:prstGeom>
          <a:noFill/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283467520"/>
      </p:ext>
    </p:extLst>
  </p:cSld>
  <p:clrMapOvr>
    <a:masterClrMapping/>
  </p:clrMapOvr>
  <p:transition>
    <p:fade/>
  </p:transition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+ Orange Divider Slide - Right Abstrac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8C56740-4267-E738-E594-592735D34F5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-32673" t="19745" r="39188" b="31801"/>
          <a:stretch/>
        </p:blipFill>
        <p:spPr>
          <a:xfrm>
            <a:off x="1" y="1"/>
            <a:ext cx="12192000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581113572"/>
      </p:ext>
    </p:extLst>
  </p:cSld>
  <p:clrMapOvr>
    <a:masterClrMapping/>
  </p:clrMapOvr>
  <p:transition>
    <p:fade/>
  </p:transition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+ Berry Divider Slide - Left Abstrac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E68ADEE-49A6-774B-B95D-853BD61A8B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 descr="A blue and pink gradient on a black background&#10;&#10;Description automatically generated">
            <a:extLst>
              <a:ext uri="{FF2B5EF4-FFF2-40B4-BE49-F238E27FC236}">
                <a16:creationId xmlns:a16="http://schemas.microsoft.com/office/drawing/2014/main" id="{DEB2BD91-A1A1-658C-905C-59A3E7534D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8027"/>
          <a:stretch/>
        </p:blipFill>
        <p:spPr>
          <a:xfrm flipH="1">
            <a:off x="0" y="1"/>
            <a:ext cx="8382000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724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508252456"/>
      </p:ext>
    </p:extLst>
  </p:cSld>
  <p:clrMapOvr>
    <a:masterClrMapping/>
  </p:clrMapOvr>
  <p:transition>
    <p:fade/>
  </p:transition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+ Orange Divider Slide - Left Abstrac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E68ADEE-49A6-774B-B95D-853BD61A8B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9F1D588-B725-8369-4C78-64BA93C685C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-32673" t="19745" r="39188" b="31801"/>
          <a:stretch/>
        </p:blipFill>
        <p:spPr>
          <a:xfrm flipH="1">
            <a:off x="1" y="1"/>
            <a:ext cx="12192000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724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739952638"/>
      </p:ext>
    </p:extLst>
  </p:cSld>
  <p:clrMapOvr>
    <a:masterClrMapping/>
  </p:clrMapOvr>
  <p:transition>
    <p:fade/>
  </p:transition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Picture + BIG Though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6BA68D9-6D70-225F-6EC7-DA3D74526C3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7096125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67DD49D-0F94-7CB9-476B-BEC50F2D6D29}"/>
              </a:ext>
            </a:extLst>
          </p:cNvPr>
          <p:cNvSpPr/>
          <p:nvPr userDrawn="1"/>
        </p:nvSpPr>
        <p:spPr>
          <a:xfrm>
            <a:off x="2963119" y="0"/>
            <a:ext cx="9228881" cy="6858000"/>
          </a:xfrm>
          <a:prstGeom prst="rect">
            <a:avLst/>
          </a:prstGeom>
          <a:gradFill flip="none" rotWithShape="1">
            <a:gsLst>
              <a:gs pos="99000">
                <a:schemeClr val="tx2">
                  <a:alpha val="0"/>
                </a:schemeClr>
              </a:gs>
              <a:gs pos="65000">
                <a:schemeClr val="tx2">
                  <a:lumMod val="5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54430F9-20D0-ACC3-4960-96320FD01C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5375" y="685800"/>
            <a:ext cx="6677027" cy="5486400"/>
          </a:xfrm>
          <a:solidFill>
            <a:srgbClr val="FFFFFF">
              <a:alpha val="63000"/>
            </a:srgbClr>
          </a:solidFill>
        </p:spPr>
        <p:txBody>
          <a:bodyPr rIns="182880" bIns="0" anchor="b"/>
          <a:lstStyle>
            <a:lvl1pPr algn="r">
              <a:defRPr sz="80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algn="r"/>
            <a:r>
              <a:rPr lang="en-US" sz="8500">
                <a:solidFill>
                  <a:schemeClr val="accent1"/>
                </a:solidFill>
                <a:latin typeface="Arial Black" panose="020B0604020202020204" pitchFamily="34" charset="0"/>
              </a:rPr>
              <a:t>Click to edit Master title style</a:t>
            </a:r>
            <a:endParaRPr lang="en-US" sz="8500">
              <a:solidFill>
                <a:schemeClr val="accent1"/>
              </a:solidFill>
              <a:latin typeface="Arial Black" panose="020B0604020202020204" pitchFamily="34" charset="0"/>
              <a:cs typeface="Arial Black" panose="020B0604020202020204" pitchFamily="34" charset="0"/>
            </a:endParaRPr>
          </a:p>
        </p:txBody>
      </p:sp>
      <p:pic>
        <p:nvPicPr>
          <p:cNvPr id="11" name="Picture 1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3B9739E4-0BA8-0AE8-A8C0-36238A05C1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E690C30-3898-378E-A66F-5A36F1BBD248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DE8D5A-ECF1-E703-6E0B-027467729A1D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3100474"/>
      </p:ext>
    </p:extLst>
  </p:cSld>
  <p:clrMapOvr>
    <a:masterClrMapping/>
  </p:clrMapOvr>
  <p:transition>
    <p:fade/>
  </p:transition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9BDE959E-5D72-4F4E-A60E-2CFAD3E9E33F}"/>
              </a:ext>
            </a:extLst>
          </p:cNvPr>
          <p:cNvSpPr/>
          <p:nvPr userDrawn="1"/>
        </p:nvSpPr>
        <p:spPr>
          <a:xfrm>
            <a:off x="0" y="0"/>
            <a:ext cx="4749919" cy="6858000"/>
          </a:xfrm>
          <a:prstGeom prst="rect">
            <a:avLst/>
          </a:prstGeom>
          <a:gradFill flip="none" rotWithShape="1">
            <a:gsLst>
              <a:gs pos="6000">
                <a:schemeClr val="accent3"/>
              </a:gs>
              <a:gs pos="77000">
                <a:schemeClr val="accent1"/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190D422-050F-0C4D-AD83-90157444B514}"/>
              </a:ext>
            </a:extLst>
          </p:cNvPr>
          <p:cNvCxnSpPr>
            <a:cxnSpLocks/>
          </p:cNvCxnSpPr>
          <p:nvPr userDrawn="1"/>
        </p:nvCxnSpPr>
        <p:spPr>
          <a:xfrm flipH="1">
            <a:off x="5409514" y="2534072"/>
            <a:ext cx="5944278" cy="0"/>
          </a:xfrm>
          <a:prstGeom prst="line">
            <a:avLst/>
          </a:prstGeom>
          <a:ln w="63500">
            <a:gradFill>
              <a:gsLst>
                <a:gs pos="0">
                  <a:schemeClr val="tx2"/>
                </a:gs>
                <a:gs pos="99000">
                  <a:schemeClr val="accent3"/>
                </a:gs>
              </a:gsLst>
              <a:lin ang="10800000" scaled="0"/>
            </a:gra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7">
            <a:extLst>
              <a:ext uri="{FF2B5EF4-FFF2-40B4-BE49-F238E27FC236}">
                <a16:creationId xmlns:a16="http://schemas.microsoft.com/office/drawing/2014/main" id="{2EF8EBEF-A81A-6F44-9571-2E29A965A8B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10200" y="1447800"/>
            <a:ext cx="5943600" cy="709833"/>
          </a:xfrm>
        </p:spPr>
        <p:txBody>
          <a:bodyPr anchor="b">
            <a:noAutofit/>
          </a:bodyPr>
          <a:lstStyle>
            <a:lvl1pPr marL="0" indent="0" algn="l">
              <a:buNone/>
              <a:defRPr sz="3200" b="1" spc="133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ontact Us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36478137-00DE-D24D-A10D-BA9931D781A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10200" y="2919285"/>
            <a:ext cx="5943600" cy="529167"/>
          </a:xfr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accent2"/>
                </a:solidFill>
              </a:defRPr>
            </a:lvl2pPr>
            <a:lvl3pPr>
              <a:defRPr b="1">
                <a:solidFill>
                  <a:schemeClr val="accent2"/>
                </a:solidFill>
              </a:defRPr>
            </a:lvl3pPr>
            <a:lvl4pPr>
              <a:defRPr b="1">
                <a:solidFill>
                  <a:schemeClr val="accent2"/>
                </a:solidFill>
              </a:defRPr>
            </a:lvl4pPr>
            <a:lvl5pPr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C84259-0961-3F40-95D0-227C2A52653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409514" y="3448050"/>
            <a:ext cx="5944278" cy="1809750"/>
          </a:xfrm>
        </p:spPr>
        <p:txBody>
          <a:bodyPr/>
          <a:lstStyle>
            <a:lvl1pPr marL="0" indent="0">
              <a:spcBef>
                <a:spcPts val="800"/>
              </a:spcBef>
              <a:buNone/>
              <a:defRPr/>
            </a:lvl1pPr>
          </a:lstStyle>
          <a:p>
            <a:pPr lvl="0"/>
            <a:r>
              <a:rPr lang="en-US"/>
              <a:t>Title</a:t>
            </a:r>
          </a:p>
          <a:p>
            <a:pPr lvl="0"/>
            <a:r>
              <a:rPr lang="en-US"/>
              <a:t>Email</a:t>
            </a:r>
          </a:p>
          <a:p>
            <a:pPr lvl="0"/>
            <a:r>
              <a:rPr lang="en-US"/>
              <a:t>Phone Number</a:t>
            </a:r>
          </a:p>
          <a:p>
            <a:pPr lvl="0"/>
            <a:r>
              <a:rPr lang="en-US" err="1"/>
              <a:t>eversana.com</a:t>
            </a:r>
            <a:endParaRPr lang="en-US"/>
          </a:p>
        </p:txBody>
      </p:sp>
      <p:pic>
        <p:nvPicPr>
          <p:cNvPr id="5" name="Picture 4" descr="A picture containing text, clipart, vector graphics&#10;&#10;Description automatically generated">
            <a:extLst>
              <a:ext uri="{FF2B5EF4-FFF2-40B4-BE49-F238E27FC236}">
                <a16:creationId xmlns:a16="http://schemas.microsoft.com/office/drawing/2014/main" id="{1FBE6703-1F5A-4985-AFCC-4B146911B5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4236" y="2731513"/>
            <a:ext cx="3101447" cy="139497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6E14DF8-2B4D-5FBA-4A05-10B17249473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E2622FE-0312-7C16-8837-E29823A0F74C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112278063"/>
      </p:ext>
    </p:extLst>
  </p:cSld>
  <p:clrMapOvr>
    <a:masterClrMapping/>
  </p:clrMapOvr>
  <p:transition>
    <p:fade/>
  </p:transition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">
    <p:bg>
      <p:bgPr>
        <a:gradFill>
          <a:gsLst>
            <a:gs pos="47000">
              <a:schemeClr val="accent1"/>
            </a:gs>
            <a:gs pos="100000">
              <a:schemeClr val="accent2"/>
            </a:gs>
          </a:gsLst>
          <a:lin ang="4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1ED4F88-DCB6-DDDC-8485-8BF26D736B4E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47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7" name="Picture 2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00594512-246E-4A47-AA41-6CF8E77306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A67BA25F-B066-3D4E-90D9-814BA5420D04}"/>
              </a:ext>
            </a:extLst>
          </p:cNvPr>
          <p:cNvSpPr/>
          <p:nvPr userDrawn="1"/>
        </p:nvSpPr>
        <p:spPr bwMode="gray">
          <a:xfrm>
            <a:off x="3083560" y="2971800"/>
            <a:ext cx="6024881" cy="5754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2698"/>
            <a:r>
              <a:rPr lang="en-US" sz="4800" spc="800">
                <a:solidFill>
                  <a:schemeClr val="bg1"/>
                </a:solidFill>
                <a:latin typeface="Arial"/>
              </a:rPr>
              <a:t>QUESTIONS?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64FDF19-57A0-0F11-B744-37E0013F6209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2654170-F1B9-54C7-C775-4C70A32493AD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89112289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</p:bldLst>
  </p:timing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gradFill>
          <a:gsLst>
            <a:gs pos="47000">
              <a:schemeClr val="accent1"/>
            </a:gs>
            <a:gs pos="100000">
              <a:schemeClr val="accent2"/>
            </a:gs>
          </a:gsLst>
          <a:lin ang="4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B041CFA-6369-68CE-507C-F71CB6D3B007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47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9023174-00C2-E247-8A0D-41254F6772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0B22C79E-4F65-364E-8900-37282F93DB01}"/>
              </a:ext>
            </a:extLst>
          </p:cNvPr>
          <p:cNvSpPr/>
          <p:nvPr userDrawn="1"/>
        </p:nvSpPr>
        <p:spPr bwMode="gray">
          <a:xfrm>
            <a:off x="0" y="2971800"/>
            <a:ext cx="12192000" cy="5754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2698"/>
            <a:r>
              <a:rPr lang="en-US" sz="4800" spc="800">
                <a:solidFill>
                  <a:schemeClr val="bg1"/>
                </a:solidFill>
                <a:latin typeface="Arial"/>
              </a:rPr>
              <a:t>THANK YOU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4007647-2660-268F-40A6-09992F91AFDE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C691D91-A15B-D010-611A-023E2241689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24931406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E258BDC-E25E-EA4C-A840-892DD4044D2A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E8A6E697-9382-C541-9DDB-4B19E7EDBD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8610" r="13944" b="9396"/>
          <a:stretch/>
        </p:blipFill>
        <p:spPr>
          <a:xfrm>
            <a:off x="3826973" y="-1"/>
            <a:ext cx="8365027" cy="685800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206D916-319C-4ECF-89D1-1D11F2A8F64B}"/>
              </a:ext>
            </a:extLst>
          </p:cNvPr>
          <p:cNvSpPr/>
          <p:nvPr userDrawn="1"/>
        </p:nvSpPr>
        <p:spPr bwMode="white">
          <a:xfrm>
            <a:off x="9550400" y="6172200"/>
            <a:ext cx="2235200" cy="685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890CE86-AA99-ED4B-B438-14655C939ED0}"/>
              </a:ext>
            </a:extLst>
          </p:cNvPr>
          <p:cNvSpPr/>
          <p:nvPr userDrawn="1"/>
        </p:nvSpPr>
        <p:spPr>
          <a:xfrm>
            <a:off x="0" y="304800"/>
            <a:ext cx="12192000" cy="6553201"/>
          </a:xfrm>
          <a:prstGeom prst="rect">
            <a:avLst/>
          </a:prstGeom>
          <a:gradFill>
            <a:gsLst>
              <a:gs pos="0">
                <a:schemeClr val="tx2">
                  <a:lumMod val="50000"/>
                  <a:alpha val="0"/>
                </a:schemeClr>
              </a:gs>
              <a:gs pos="70000">
                <a:schemeClr val="tx2">
                  <a:lumMod val="50000"/>
                </a:schemeClr>
              </a:gs>
            </a:gsLst>
            <a:lin ang="54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4863618A-F2A3-5D4D-92CD-345322830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36999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76611C0-F646-F24B-886D-1FD9929C17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1" y="5358825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Picture 2" descr="Text, logo&#10;&#10;Description automatically generated">
            <a:extLst>
              <a:ext uri="{FF2B5EF4-FFF2-40B4-BE49-F238E27FC236}">
                <a16:creationId xmlns:a16="http://schemas.microsoft.com/office/drawing/2014/main" id="{F6B3760A-48B8-4176-B9EB-349133AE98F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09600" y="1371600"/>
            <a:ext cx="6948488" cy="118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2024245"/>
      </p:ext>
    </p:extLst>
  </p:cSld>
  <p:clrMapOvr>
    <a:masterClrMapping/>
  </p:clrMapOvr>
  <p:transition>
    <p:fade/>
  </p:transition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 Darker Blue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E68ADEE-49A6-774B-B95D-853BD61A8B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753A6FEB-09C6-9743-B095-A31A3EA70BE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9050" r="25917" b="9503"/>
          <a:stretch/>
        </p:blipFill>
        <p:spPr>
          <a:xfrm>
            <a:off x="5004033" y="0"/>
            <a:ext cx="7187967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4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962462060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cons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94C423CD-F55C-AD48-84C5-9E5DE00D6A23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105165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09DF0BDD-42C8-764F-AE1A-C8633F89B744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3942310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FE83D91D-20BC-F048-A5F9-6BA6FD9E1C7C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6798244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Content Placeholder 4">
            <a:extLst>
              <a:ext uri="{FF2B5EF4-FFF2-40B4-BE49-F238E27FC236}">
                <a16:creationId xmlns:a16="http://schemas.microsoft.com/office/drawing/2014/main" id="{7A1D28A5-46EB-B64F-A151-512BCFEB1A6D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616600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6662A63-9812-4216-B3CD-AF5EA9A59D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63935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A3B5F99-C322-4FA5-9845-E33F70AAC0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5336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4CFCBFC-A2CC-4BC6-8876-99FC2869D1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2534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D4B7AE-53A8-49D3-B515-48B51CA507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2534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D41FF3-FBE3-4278-9A28-B609FBF7A0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63935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A7AF931-B64A-4B5C-B20A-CD425D1F5F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05336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2166374B-8CA1-4E4D-897F-9F57A99003F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123291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7DF32699-CF78-B142-B55A-592854F65E5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123291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EF993BF1-E47B-0543-82C5-D28232ADC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9EF67E38-439D-DA4E-8481-544978A4B9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38625540"/>
      </p:ext>
    </p:extLst>
  </p:cSld>
  <p:clrMapOvr>
    <a:masterClrMapping/>
  </p:clrMapOvr>
  <p:transition>
    <p:fade/>
  </p:transition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 Lighter Blue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F2943913-10E5-D048-BEEA-B9D3DC595C1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00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753A6FEB-09C6-9743-B095-A31A3EA70BE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9050" r="25917" b="9503"/>
          <a:stretch/>
        </p:blipFill>
        <p:spPr>
          <a:xfrm>
            <a:off x="5004033" y="0"/>
            <a:ext cx="7187967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B1754B3-3310-B1A6-38CC-9D8A9403368F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68CCA33-E4E8-5227-1DD9-70C48A7D4334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4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74974735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cons -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800B71BF-6734-3D4E-8A36-B684BDA30A3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94C423CD-F55C-AD48-84C5-9E5DE00D6A23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105165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09DF0BDD-42C8-764F-AE1A-C8633F89B744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3942310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FE83D91D-20BC-F048-A5F9-6BA6FD9E1C7C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6798244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Content Placeholder 4">
            <a:extLst>
              <a:ext uri="{FF2B5EF4-FFF2-40B4-BE49-F238E27FC236}">
                <a16:creationId xmlns:a16="http://schemas.microsoft.com/office/drawing/2014/main" id="{7A1D28A5-46EB-B64F-A151-512BCFEB1A6D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616600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6662A63-9812-4216-B3CD-AF5EA9A59D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63935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A3B5F99-C322-4FA5-9845-E33F70AAC0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5336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4CFCBFC-A2CC-4BC6-8876-99FC2869D1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2534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D4B7AE-53A8-49D3-B515-48B51CA507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2534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D41FF3-FBE3-4278-9A28-B609FBF7A0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63935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A7AF931-B64A-4B5C-B20A-CD425D1F5F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05336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2166374B-8CA1-4E4D-897F-9F57A99003F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123291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7DF32699-CF78-B142-B55A-592854F65E5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123291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EF993BF1-E47B-0543-82C5-D28232ADC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9EF67E38-439D-DA4E-8481-544978A4B9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0" name="Picture 39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69C6C5C6-A24F-A641-BEE3-56E1EEB3CD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5FB799E-D03F-8B41-72BE-D49E9C42D52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CEAE0E7-60AE-0764-2405-CAC468DD194F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989283728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title + 4 Column/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197627A-F191-6F6C-173C-941E0358FEC4}"/>
              </a:ext>
            </a:extLst>
          </p:cNvPr>
          <p:cNvSpPr/>
          <p:nvPr userDrawn="1"/>
        </p:nvSpPr>
        <p:spPr>
          <a:xfrm>
            <a:off x="9006841" y="1828800"/>
            <a:ext cx="2590800" cy="4419600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5A42B69-D187-68D4-E85A-B04FCB18888A}"/>
              </a:ext>
            </a:extLst>
          </p:cNvPr>
          <p:cNvSpPr/>
          <p:nvPr userDrawn="1"/>
        </p:nvSpPr>
        <p:spPr>
          <a:xfrm>
            <a:off x="6202681" y="1828800"/>
            <a:ext cx="2590800" cy="4419600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447CED2-F5A3-41ED-632D-054B47881A0D}"/>
              </a:ext>
            </a:extLst>
          </p:cNvPr>
          <p:cNvSpPr/>
          <p:nvPr userDrawn="1"/>
        </p:nvSpPr>
        <p:spPr>
          <a:xfrm>
            <a:off x="3398521" y="1828800"/>
            <a:ext cx="2590800" cy="4419600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4FFBDFC-D7CF-1CC2-7B36-3CBD0E83CC62}"/>
              </a:ext>
            </a:extLst>
          </p:cNvPr>
          <p:cNvSpPr/>
          <p:nvPr userDrawn="1"/>
        </p:nvSpPr>
        <p:spPr>
          <a:xfrm>
            <a:off x="594361" y="1828800"/>
            <a:ext cx="2590800" cy="4419600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EF993BF1-E47B-0543-82C5-D28232ADC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9EF67E38-439D-DA4E-8481-544978A4B9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A321E26-D184-D4E3-67AB-B6753847E19B}"/>
              </a:ext>
            </a:extLst>
          </p:cNvPr>
          <p:cNvGrpSpPr/>
          <p:nvPr/>
        </p:nvGrpSpPr>
        <p:grpSpPr>
          <a:xfrm>
            <a:off x="1322070" y="1303018"/>
            <a:ext cx="1135382" cy="1135382"/>
            <a:chOff x="828675" y="2082036"/>
            <a:chExt cx="841926" cy="841926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27FEB60D-3784-8085-5727-DB1EEBE7F182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925F3-40E8-968E-B47F-A1B14A0A058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98418FB-2EE0-126B-ABEB-E6E30429A19A}"/>
              </a:ext>
            </a:extLst>
          </p:cNvPr>
          <p:cNvGrpSpPr/>
          <p:nvPr userDrawn="1"/>
        </p:nvGrpSpPr>
        <p:grpSpPr>
          <a:xfrm>
            <a:off x="4126230" y="1303018"/>
            <a:ext cx="1135382" cy="1135382"/>
            <a:chOff x="6315075" y="2057223"/>
            <a:chExt cx="841926" cy="841926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EB60922C-F5F8-2F15-FE80-7652089519A7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15075" y="2057223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40023594-A54B-AFD2-0842-75A61816C5D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388139" y="2130283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DA20CC7-A116-65F1-47B9-E1E1430919E4}"/>
              </a:ext>
            </a:extLst>
          </p:cNvPr>
          <p:cNvGrpSpPr/>
          <p:nvPr/>
        </p:nvGrpSpPr>
        <p:grpSpPr>
          <a:xfrm>
            <a:off x="6930390" y="1303018"/>
            <a:ext cx="1135382" cy="1135382"/>
            <a:chOff x="831786" y="4100558"/>
            <a:chExt cx="841926" cy="841926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49677590-F319-B777-B838-31609E997D6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31786" y="4100558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42C4B954-4D22-831B-4DEB-E60CC04AB8F4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4846" y="4173618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3E91250-B382-ACF0-AFCC-310F0B40A666}"/>
              </a:ext>
            </a:extLst>
          </p:cNvPr>
          <p:cNvGrpSpPr/>
          <p:nvPr/>
        </p:nvGrpSpPr>
        <p:grpSpPr>
          <a:xfrm>
            <a:off x="9734550" y="1303018"/>
            <a:ext cx="1135382" cy="1135382"/>
            <a:chOff x="6318185" y="4094407"/>
            <a:chExt cx="841926" cy="841926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C68A9DC0-30A1-BC3D-74D3-E54BCC0955EF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18185" y="4094407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94468285-47AB-0719-CBC6-9041693FDE03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91245" y="4167467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2D8DE35C-A6B8-3F5C-0057-216A7E3296B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7230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910E73D3-8C55-6C4A-314C-F5A7F0B7382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7230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34FFD1B7-2625-F2D4-CE35-823C6D75C37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50139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0580E85B-67DB-8F9C-F9E4-F9D9F0B2EE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50139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A8CB9092-DFAE-A574-889A-64141BA1060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30555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10">
            <a:extLst>
              <a:ext uri="{FF2B5EF4-FFF2-40B4-BE49-F238E27FC236}">
                <a16:creationId xmlns:a16="http://schemas.microsoft.com/office/drawing/2014/main" id="{21F9AFBC-DB7A-0B52-8451-6A2F28B42ED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30555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72878174-388C-D7D5-E040-C9B6FEA3F3A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10971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32503B2-0C63-687E-5215-2F535131C26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10971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88641309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Title + 1 Subtitle + 4 Column/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E57F3FD9-2178-611E-03F6-2D834346EDB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558933F-622D-A6C7-07AC-EB5CBF0659A1}"/>
              </a:ext>
            </a:extLst>
          </p:cNvPr>
          <p:cNvSpPr/>
          <p:nvPr userDrawn="1"/>
        </p:nvSpPr>
        <p:spPr>
          <a:xfrm>
            <a:off x="9006841" y="1828800"/>
            <a:ext cx="2590800" cy="4419600"/>
          </a:xfrm>
          <a:prstGeom prst="rect">
            <a:avLst/>
          </a:prstGeom>
          <a:solidFill>
            <a:schemeClr val="bg1">
              <a:alpha val="1918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87EF8DC-A8F2-6FD6-A4C9-098DE5256443}"/>
              </a:ext>
            </a:extLst>
          </p:cNvPr>
          <p:cNvSpPr/>
          <p:nvPr userDrawn="1"/>
        </p:nvSpPr>
        <p:spPr>
          <a:xfrm>
            <a:off x="6202681" y="1828800"/>
            <a:ext cx="2590800" cy="4419600"/>
          </a:xfrm>
          <a:prstGeom prst="rect">
            <a:avLst/>
          </a:prstGeom>
          <a:solidFill>
            <a:schemeClr val="bg1">
              <a:alpha val="1918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B2E73CC-98C3-122D-DDE6-796A13CFB003}"/>
              </a:ext>
            </a:extLst>
          </p:cNvPr>
          <p:cNvSpPr/>
          <p:nvPr userDrawn="1"/>
        </p:nvSpPr>
        <p:spPr>
          <a:xfrm>
            <a:off x="3398521" y="1828800"/>
            <a:ext cx="2590800" cy="4419600"/>
          </a:xfrm>
          <a:prstGeom prst="rect">
            <a:avLst/>
          </a:prstGeom>
          <a:solidFill>
            <a:schemeClr val="bg1">
              <a:alpha val="1918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CC7C7DC-BACB-2DC7-7EFC-BC8651A17229}"/>
              </a:ext>
            </a:extLst>
          </p:cNvPr>
          <p:cNvSpPr/>
          <p:nvPr userDrawn="1"/>
        </p:nvSpPr>
        <p:spPr>
          <a:xfrm>
            <a:off x="594361" y="1828800"/>
            <a:ext cx="2590800" cy="4419600"/>
          </a:xfrm>
          <a:prstGeom prst="rect">
            <a:avLst/>
          </a:prstGeom>
          <a:solidFill>
            <a:schemeClr val="bg1">
              <a:alpha val="1918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EF993BF1-E47B-0543-82C5-D28232ADC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9EF67E38-439D-DA4E-8481-544978A4B9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A321E26-D184-D4E3-67AB-B6753847E19B}"/>
              </a:ext>
            </a:extLst>
          </p:cNvPr>
          <p:cNvGrpSpPr/>
          <p:nvPr/>
        </p:nvGrpSpPr>
        <p:grpSpPr>
          <a:xfrm>
            <a:off x="1322070" y="1303018"/>
            <a:ext cx="1135382" cy="1135382"/>
            <a:chOff x="828675" y="2082036"/>
            <a:chExt cx="841926" cy="841926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27FEB60D-3784-8085-5727-DB1EEBE7F182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gradFill>
              <a:gsLst>
                <a:gs pos="99000">
                  <a:schemeClr val="tx2"/>
                </a:gs>
                <a:gs pos="19000">
                  <a:schemeClr val="tx2">
                    <a:lumMod val="50000"/>
                  </a:schemeClr>
                </a:gs>
              </a:gsLst>
              <a:lin ang="8100000" scaled="1"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925F3-40E8-968E-B47F-A1B14A0A058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98418FB-2EE0-126B-ABEB-E6E30429A19A}"/>
              </a:ext>
            </a:extLst>
          </p:cNvPr>
          <p:cNvGrpSpPr/>
          <p:nvPr userDrawn="1"/>
        </p:nvGrpSpPr>
        <p:grpSpPr>
          <a:xfrm>
            <a:off x="4126230" y="1303018"/>
            <a:ext cx="1135382" cy="1135382"/>
            <a:chOff x="6315075" y="2057223"/>
            <a:chExt cx="841926" cy="841926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EB60922C-F5F8-2F15-FE80-7652089519A7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15075" y="2057223"/>
              <a:ext cx="841926" cy="841926"/>
            </a:xfrm>
            <a:prstGeom prst="ellipse">
              <a:avLst/>
            </a:prstGeom>
            <a:gradFill>
              <a:gsLst>
                <a:gs pos="99000">
                  <a:schemeClr val="tx2"/>
                </a:gs>
                <a:gs pos="19000">
                  <a:schemeClr val="tx2">
                    <a:lumMod val="50000"/>
                  </a:schemeClr>
                </a:gs>
              </a:gsLst>
              <a:lin ang="8100000" scaled="1"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40023594-A54B-AFD2-0842-75A61816C5D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388139" y="2130283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DA20CC7-A116-65F1-47B9-E1E1430919E4}"/>
              </a:ext>
            </a:extLst>
          </p:cNvPr>
          <p:cNvGrpSpPr/>
          <p:nvPr/>
        </p:nvGrpSpPr>
        <p:grpSpPr>
          <a:xfrm>
            <a:off x="6930390" y="1303018"/>
            <a:ext cx="1135382" cy="1135382"/>
            <a:chOff x="831786" y="4100558"/>
            <a:chExt cx="841926" cy="841926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49677590-F319-B777-B838-31609E997D6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31786" y="4100558"/>
              <a:ext cx="841926" cy="841926"/>
            </a:xfrm>
            <a:prstGeom prst="ellipse">
              <a:avLst/>
            </a:prstGeom>
            <a:gradFill>
              <a:gsLst>
                <a:gs pos="99000">
                  <a:schemeClr val="tx2"/>
                </a:gs>
                <a:gs pos="19000">
                  <a:schemeClr val="tx2">
                    <a:lumMod val="50000"/>
                  </a:schemeClr>
                </a:gs>
              </a:gsLst>
              <a:lin ang="8100000" scaled="1"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42C4B954-4D22-831B-4DEB-E60CC04AB8F4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4846" y="4173618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3E91250-B382-ACF0-AFCC-310F0B40A666}"/>
              </a:ext>
            </a:extLst>
          </p:cNvPr>
          <p:cNvGrpSpPr/>
          <p:nvPr/>
        </p:nvGrpSpPr>
        <p:grpSpPr>
          <a:xfrm>
            <a:off x="9734550" y="1303018"/>
            <a:ext cx="1135382" cy="1135382"/>
            <a:chOff x="6318185" y="4094407"/>
            <a:chExt cx="841926" cy="841926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C68A9DC0-30A1-BC3D-74D3-E54BCC0955EF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18185" y="4094407"/>
              <a:ext cx="841926" cy="841926"/>
            </a:xfrm>
            <a:prstGeom prst="ellipse">
              <a:avLst/>
            </a:prstGeom>
            <a:gradFill>
              <a:gsLst>
                <a:gs pos="99000">
                  <a:schemeClr val="tx2"/>
                </a:gs>
                <a:gs pos="19000">
                  <a:schemeClr val="tx2">
                    <a:lumMod val="50000"/>
                  </a:schemeClr>
                </a:gs>
              </a:gsLst>
              <a:lin ang="8100000" scaled="1"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94468285-47AB-0719-CBC6-9041693FDE03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91245" y="4167467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2D8DE35C-A6B8-3F5C-0057-216A7E3296B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7230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910E73D3-8C55-6C4A-314C-F5A7F0B7382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7230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34FFD1B7-2625-F2D4-CE35-823C6D75C37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50139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0580E85B-67DB-8F9C-F9E4-F9D9F0B2EE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50139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A8CB9092-DFAE-A574-889A-64141BA1060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30555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10">
            <a:extLst>
              <a:ext uri="{FF2B5EF4-FFF2-40B4-BE49-F238E27FC236}">
                <a16:creationId xmlns:a16="http://schemas.microsoft.com/office/drawing/2014/main" id="{21F9AFBC-DB7A-0B52-8451-6A2F28B42ED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30555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72878174-388C-D7D5-E040-C9B6FEA3F3A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10971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32503B2-0C63-687E-5215-2F535131C26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10971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F6039AE5-A854-A912-9E00-E6BA3B7312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E824902-3B34-7FCF-498A-AB3C0A48B8E9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E1F4429-C113-F916-E8EE-B18F75BC3E5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266476726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 Col + Copy +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19A9CC3-73DE-B2DA-3707-70B527EE186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F94FE247-D8F9-194B-39E8-56493FAD84FF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394201" y="1295400"/>
            <a:ext cx="3403598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Picture Placeholder 15">
            <a:extLst>
              <a:ext uri="{FF2B5EF4-FFF2-40B4-BE49-F238E27FC236}">
                <a16:creationId xmlns:a16="http://schemas.microsoft.com/office/drawing/2014/main" id="{758D0C94-8B71-BE5D-5525-5D9B67F16F8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178802" y="1295400"/>
            <a:ext cx="3403598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0DB05E8-5D25-DD87-3B2D-ACABB3702FD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" y="1295400"/>
            <a:ext cx="3403598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2C27E9AA-903A-B1F8-039F-9AA17E522C2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8814" y="2618482"/>
            <a:ext cx="326517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8A178294-5753-2424-18BD-306DB8B083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8814" y="1752600"/>
            <a:ext cx="326517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7BA6A96D-9D81-0995-2C95-4B0396409C3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63415" y="2618482"/>
            <a:ext cx="326517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D28FD761-5CA7-9C24-2730-D2F87BDE5FD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63415" y="1752600"/>
            <a:ext cx="326517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64831C33-C288-688C-4C0C-A6B074BE974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248017" y="2618482"/>
            <a:ext cx="326517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3566D4E9-C18D-B640-2F6A-4ADC6A42F9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48017" y="1752600"/>
            <a:ext cx="326517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933FDF7-E3C1-94AD-F295-18E4E0F994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772B863F-E483-3FD1-1EBF-67C3C2698A2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E097337-9FD4-3935-5CE2-42CDE24B49C1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6F47F8E-9E1C-E31F-6459-CE90FA4355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764E6C00-3A8C-26AD-BFBD-1EB051244B1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1097399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 Col + Copy +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19A9CC3-73DE-B2DA-3707-70B527EE186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F94FE247-D8F9-194B-39E8-56493FAD84FF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403601" y="1295400"/>
            <a:ext cx="2590800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Picture Placeholder 15">
            <a:extLst>
              <a:ext uri="{FF2B5EF4-FFF2-40B4-BE49-F238E27FC236}">
                <a16:creationId xmlns:a16="http://schemas.microsoft.com/office/drawing/2014/main" id="{758D0C94-8B71-BE5D-5525-5D9B67F16F8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197602" y="1295400"/>
            <a:ext cx="2590800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5" name="Picture Placeholder 15">
            <a:extLst>
              <a:ext uri="{FF2B5EF4-FFF2-40B4-BE49-F238E27FC236}">
                <a16:creationId xmlns:a16="http://schemas.microsoft.com/office/drawing/2014/main" id="{217CCBB9-8D37-95E5-D0AF-3ABCD3D7E68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991602" y="1295400"/>
            <a:ext cx="2590800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0DB05E8-5D25-DD87-3B2D-ACABB3702FD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" y="1295400"/>
            <a:ext cx="2590800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2C27E9AA-903A-B1F8-039F-9AA17E522C2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7230" y="2618482"/>
            <a:ext cx="238506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8A178294-5753-2424-18BD-306DB8B083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7230" y="17526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24D99293-8F44-587C-C6A6-C630940F329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506471" y="2618482"/>
            <a:ext cx="238506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D0F38D8F-513F-5B10-8CAD-B04F35D9658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06471" y="17526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4EEBC2EC-5B95-27A1-0839-CB4BA80E30C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300472" y="2618482"/>
            <a:ext cx="238506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10">
            <a:extLst>
              <a:ext uri="{FF2B5EF4-FFF2-40B4-BE49-F238E27FC236}">
                <a16:creationId xmlns:a16="http://schemas.microsoft.com/office/drawing/2014/main" id="{549AD924-C0D5-D6FF-9ADB-61E2B31EBC9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00472" y="17526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B8588871-D585-1518-EBE3-49DCD674B58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094472" y="2618482"/>
            <a:ext cx="238506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4EFDF170-A436-9AE7-95D3-DB0D83206E03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094472" y="17526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4" name="Picture 3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FBBEB8CC-DF09-0909-6A59-0495E18423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3485519-EEEE-963A-E887-1E9743D108A2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30F8BA2-6AF9-115B-7B2D-9B4B2CC9A65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D88B82C-9F4D-0D12-3F51-7C2A22FD41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2026BAA-1465-B70F-4841-FDCCEB963C9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77456506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3 col copy +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F950E1A-5434-5CD7-BBF4-A9000B062F7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1F07C65-AEC2-167F-F4B5-7AA702961FA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3" name="Picture 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65C8A76B-1CC3-DCF5-8E90-A875888DFB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8A28F2B2-EA0E-889F-B8E2-562E9D6712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541F605-332B-E8DA-963C-069951D441C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E947062B-A8F4-9E53-86B9-F51CBE811EA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9600" y="2794189"/>
            <a:ext cx="10972801" cy="349889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0F3B833-8F55-EB7B-B7D5-9F540C30D8AF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C5DC927-4E8E-AD19-9DA5-BB9857C415B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147568534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3 col copy + 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F950E1A-5434-5CD7-BBF4-A9000B062F7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99000">
                <a:schemeClr val="accent2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1F07C65-AEC2-167F-F4B5-7AA702961FA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3" name="Picture 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65C8A76B-1CC3-DCF5-8E90-A875888DFB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8A28F2B2-EA0E-889F-B8E2-562E9D6712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541F605-332B-E8DA-963C-069951D441C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E947062B-A8F4-9E53-86B9-F51CBE811EA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9600" y="2794189"/>
            <a:ext cx="10972801" cy="349889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0F3B833-8F55-EB7B-B7D5-9F540C30D8AF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C5DC927-4E8E-AD19-9DA5-BB9857C415B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517258684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+ Client Cover -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F4027B-499F-5D35-5C27-C6E6348CAA94}"/>
              </a:ext>
            </a:extLst>
          </p:cNvPr>
          <p:cNvSpPr/>
          <p:nvPr userDrawn="1"/>
        </p:nvSpPr>
        <p:spPr>
          <a:xfrm rot="16200000" flipH="1">
            <a:off x="4733313" y="-600687"/>
            <a:ext cx="2725376" cy="12192001"/>
          </a:xfrm>
          <a:prstGeom prst="rect">
            <a:avLst/>
          </a:prstGeom>
          <a:gradFill>
            <a:gsLst>
              <a:gs pos="34000">
                <a:schemeClr val="accent1"/>
              </a:gs>
              <a:gs pos="100000">
                <a:schemeClr val="accent3"/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5269655" y="1778797"/>
            <a:ext cx="1" cy="469951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ACF30A2-7E5B-4506-9CE1-606645C8EA6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420170" y="1116709"/>
            <a:ext cx="3998384" cy="16086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client logo</a:t>
            </a: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AA3DA5AD-B273-674D-A025-EFD62CF74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939" y="4343370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F9A9321-5F6E-794B-A1FA-CFC44158EC2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0940" y="5765196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 descr="Text, logo&#10;&#10;Description automatically generated">
            <a:extLst>
              <a:ext uri="{FF2B5EF4-FFF2-40B4-BE49-F238E27FC236}">
                <a16:creationId xmlns:a16="http://schemas.microsoft.com/office/drawing/2014/main" id="{B14DB16A-B76A-41D4-8E92-479134319E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0939" y="1630081"/>
            <a:ext cx="4482540" cy="767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3409925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Light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7E8A479-E758-2147-B823-D84DA9707E39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FE8E367A-44AC-E44E-9063-D1C9B7D9EE6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" y="528638"/>
            <a:ext cx="3352800" cy="3352800"/>
          </a:xfrm>
          <a:prstGeom prst="ellipse">
            <a:avLst/>
          </a:prstGeom>
        </p:spPr>
        <p:txBody>
          <a:bodyPr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553B9FD3-DD47-1044-BA3A-0E24992639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9099" y="4267200"/>
            <a:ext cx="3733800" cy="6096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304816" indent="0">
              <a:buNone/>
              <a:defRPr sz="2800" b="1">
                <a:solidFill>
                  <a:schemeClr val="bg1"/>
                </a:solidFill>
              </a:defRPr>
            </a:lvl2pPr>
            <a:lvl3pPr marL="671016" indent="0">
              <a:buNone/>
              <a:defRPr sz="2800" b="1">
                <a:solidFill>
                  <a:schemeClr val="bg1"/>
                </a:solidFill>
              </a:defRPr>
            </a:lvl3pPr>
            <a:lvl4pPr marL="1036372" indent="0">
              <a:buNone/>
              <a:defRPr sz="2800" b="1">
                <a:solidFill>
                  <a:schemeClr val="bg1"/>
                </a:solidFill>
              </a:defRPr>
            </a:lvl4pPr>
            <a:lvl5pPr marL="1280224" indent="0">
              <a:buNone/>
              <a:defRPr sz="2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9FE79029-5015-384F-A4DE-79D4BDE426A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9099" y="4882661"/>
            <a:ext cx="3733800" cy="6959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i="0">
                <a:solidFill>
                  <a:schemeClr val="bg1"/>
                </a:solidFill>
              </a:defRPr>
            </a:lvl1pPr>
            <a:lvl2pPr marL="304816" indent="0" algn="ctr">
              <a:buNone/>
              <a:defRPr sz="1400" i="1">
                <a:solidFill>
                  <a:schemeClr val="bg1"/>
                </a:solidFill>
              </a:defRPr>
            </a:lvl2pPr>
            <a:lvl3pPr marL="671016" indent="0" algn="ctr">
              <a:buNone/>
              <a:defRPr sz="1400" i="1">
                <a:solidFill>
                  <a:schemeClr val="bg1"/>
                </a:solidFill>
              </a:defRPr>
            </a:lvl3pPr>
            <a:lvl4pPr marL="1036372" indent="0" algn="ctr">
              <a:buNone/>
              <a:defRPr sz="1400" i="1">
                <a:solidFill>
                  <a:schemeClr val="bg1"/>
                </a:solidFill>
              </a:defRPr>
            </a:lvl4pPr>
            <a:lvl5pPr marL="1280224" indent="0" algn="ctr">
              <a:buNone/>
              <a:defRPr sz="14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DA4ACC24-3880-0244-A572-FD6D3A85457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65701" y="457200"/>
            <a:ext cx="6807200" cy="48005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Biography goes here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494677B5-8683-4E43-900B-5957C31A82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5701" y="5419301"/>
            <a:ext cx="6807200" cy="77002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400"/>
              </a:spcBef>
              <a:buNone/>
              <a:defRPr sz="1400" b="1">
                <a:solidFill>
                  <a:schemeClr val="tx2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xpertise: Area of Expertise</a:t>
            </a:r>
          </a:p>
          <a:p>
            <a:pPr lvl="0"/>
            <a:r>
              <a:rPr lang="en-US" b="0"/>
              <a:t>List of extra areas/supplemental things</a:t>
            </a:r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57B6C66-85EB-E737-C941-7855FDA1B18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7D4BB72-EF15-F04D-7684-AEB57C15B03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045936044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C211B6C-FB39-3446-B52F-C45ADC2BFB58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FE8E367A-44AC-E44E-9063-D1C9B7D9EE6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" y="528638"/>
            <a:ext cx="3352800" cy="3352800"/>
          </a:xfrm>
          <a:prstGeom prst="ellipse">
            <a:avLst/>
          </a:prstGeom>
        </p:spPr>
        <p:txBody>
          <a:bodyPr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553B9FD3-DD47-1044-BA3A-0E24992639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9099" y="4267200"/>
            <a:ext cx="3733800" cy="6096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304816" indent="0">
              <a:buNone/>
              <a:defRPr sz="2800" b="1">
                <a:solidFill>
                  <a:schemeClr val="bg1"/>
                </a:solidFill>
              </a:defRPr>
            </a:lvl2pPr>
            <a:lvl3pPr marL="671016" indent="0">
              <a:buNone/>
              <a:defRPr sz="2800" b="1">
                <a:solidFill>
                  <a:schemeClr val="bg1"/>
                </a:solidFill>
              </a:defRPr>
            </a:lvl3pPr>
            <a:lvl4pPr marL="1036372" indent="0">
              <a:buNone/>
              <a:defRPr sz="2800" b="1">
                <a:solidFill>
                  <a:schemeClr val="bg1"/>
                </a:solidFill>
              </a:defRPr>
            </a:lvl4pPr>
            <a:lvl5pPr marL="1280224" indent="0">
              <a:buNone/>
              <a:defRPr sz="2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9FE79029-5015-384F-A4DE-79D4BDE426A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9099" y="4882661"/>
            <a:ext cx="3733800" cy="6959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i="0">
                <a:solidFill>
                  <a:schemeClr val="bg1"/>
                </a:solidFill>
              </a:defRPr>
            </a:lvl1pPr>
            <a:lvl2pPr marL="304816" indent="0" algn="ctr">
              <a:buNone/>
              <a:defRPr sz="1400" i="1">
                <a:solidFill>
                  <a:schemeClr val="bg1"/>
                </a:solidFill>
              </a:defRPr>
            </a:lvl2pPr>
            <a:lvl3pPr marL="671016" indent="0" algn="ctr">
              <a:buNone/>
              <a:defRPr sz="1400" i="1">
                <a:solidFill>
                  <a:schemeClr val="bg1"/>
                </a:solidFill>
              </a:defRPr>
            </a:lvl3pPr>
            <a:lvl4pPr marL="1036372" indent="0" algn="ctr">
              <a:buNone/>
              <a:defRPr sz="1400" i="1">
                <a:solidFill>
                  <a:schemeClr val="bg1"/>
                </a:solidFill>
              </a:defRPr>
            </a:lvl4pPr>
            <a:lvl5pPr marL="1280224" indent="0" algn="ctr">
              <a:buNone/>
              <a:defRPr sz="14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DA4ACC24-3880-0244-A572-FD6D3A85457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65701" y="457200"/>
            <a:ext cx="6807200" cy="48005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Biography goes here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494677B5-8683-4E43-900B-5957C31A82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5701" y="5419301"/>
            <a:ext cx="6807200" cy="77002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400"/>
              </a:spcBef>
              <a:buNone/>
              <a:defRPr sz="1400" b="1">
                <a:solidFill>
                  <a:schemeClr val="tx2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xpertise: Area of Expertise</a:t>
            </a:r>
          </a:p>
          <a:p>
            <a:pPr lvl="0"/>
            <a:r>
              <a:rPr lang="en-US" b="0"/>
              <a:t>List of extra areas/supplemental things</a:t>
            </a:r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F007714-1EDB-F6C7-C8CB-A10217A259C8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57FD726-EC2F-7814-790A-65D03287B75A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230620523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Lighter Blue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3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C7B55AA-1FD7-D998-FEF6-231028E4EF74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E10394D-FF76-F8A0-3E5B-FF31F5AF953C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917053281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Lighter Blue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C7B55AA-1FD7-D998-FEF6-231028E4EF74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E10394D-FF76-F8A0-3E5B-FF31F5AF953C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2C121A8-C0BC-A951-F4DE-FDD8267627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984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B564137E-7648-AD38-CD8D-4B5AC37C263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8984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52301374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Dark Blue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AB8505E-4E55-1E42-B6E9-B87303ABDE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2F89574-AA17-5943-B7F9-0A4D6716481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3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9452291-43C3-AF5E-1FAD-4EAB1004815D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D5DC41-1E40-6029-02B0-771E0E01265E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239612013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Dark Blue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AB8505E-4E55-1E42-B6E9-B87303ABDE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9452291-43C3-AF5E-1FAD-4EAB1004815D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D5DC41-1E40-6029-02B0-771E0E01265E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9FB0B9B-D069-4C7B-0682-6EDD818C18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984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47F397D2-2E70-F138-05E2-7E55CA6C25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8984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64703942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erry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C5B49DC-9D7C-E966-60DE-22C8D3D884E1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000">
                <a:schemeClr val="tx2"/>
              </a:gs>
              <a:gs pos="100000">
                <a:schemeClr val="accent2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AB8505E-4E55-1E42-B6E9-B87303ABDE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2F89574-AA17-5943-B7F9-0A4D6716481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3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42E3AC-ABB9-330F-9959-790702634C51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1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69459E0-8E11-8510-97F4-BDF8DA2962A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1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030906210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erry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6E41728-ADBE-F129-3130-5C7A7B67AD39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000">
                <a:schemeClr val="tx2"/>
              </a:gs>
              <a:gs pos="100000">
                <a:schemeClr val="accent2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AB8505E-4E55-1E42-B6E9-B87303ABDE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42E3AC-ABB9-330F-9959-790702634C51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1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69459E0-8E11-8510-97F4-BDF8DA2962A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1"/>
                </a:solidFill>
              </a:rPr>
              <a:t>© 2025 EVERSANA.  All Rights Reserved.  CONFIDENTIAL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AC0B27-A86C-4569-E032-9BCAF5BE56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984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F7DAEA6C-B549-34F6-E58F-564198059D7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8984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89169552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Lighter Blue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8150544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8115385-43EB-7440-886E-68C3ADCB0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458574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Lighter Blue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8115385-43EB-7440-886E-68C3ADCB0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DD6A631-C1E5-0767-E5ED-C812E78915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28985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0845615A-2A80-83E2-8E73-E6E07D8D22F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28985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16273256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9BDE959E-5D72-4F4E-A60E-2CFAD3E9E33F}"/>
              </a:ext>
            </a:extLst>
          </p:cNvPr>
          <p:cNvSpPr/>
          <p:nvPr userDrawn="1"/>
        </p:nvSpPr>
        <p:spPr>
          <a:xfrm>
            <a:off x="7442083" y="0"/>
            <a:ext cx="4749917" cy="6858000"/>
          </a:xfrm>
          <a:prstGeom prst="rect">
            <a:avLst/>
          </a:prstGeom>
          <a:gradFill flip="none" rotWithShape="1">
            <a:gsLst>
              <a:gs pos="6000">
                <a:schemeClr val="accent3"/>
              </a:gs>
              <a:gs pos="77000">
                <a:schemeClr val="accent1"/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Picture 31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A475898-BA78-C149-A94E-7C59E87EFF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3" name="Title 1">
            <a:extLst>
              <a:ext uri="{FF2B5EF4-FFF2-40B4-BE49-F238E27FC236}">
                <a16:creationId xmlns:a16="http://schemas.microsoft.com/office/drawing/2014/main" id="{0F49ED40-5755-8C4F-B416-901D3473B8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6203655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03E2F96D-8A61-6D45-8DF6-B2486BDC3A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793111"/>
            <a:ext cx="6203655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2F5237E-9D93-9BD4-E80E-D8914AE7DBE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6203655" cy="4918364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>
              <a:buFont typeface="+mj-lt"/>
              <a:buAutoNum type="arabicPeriod"/>
              <a:defRPr sz="1600">
                <a:solidFill>
                  <a:schemeClr val="tx1"/>
                </a:solidFill>
              </a:defRPr>
            </a:lvl1pPr>
            <a:lvl2pPr marL="617220" indent="-182880">
              <a:spcBef>
                <a:spcPts val="12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822960" indent="-164592">
              <a:spcBef>
                <a:spcPts val="10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188720" indent="-182880">
              <a:spcBef>
                <a:spcPts val="800"/>
              </a:spcBef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1325880" indent="-228600">
              <a:spcBef>
                <a:spcPts val="600"/>
              </a:spcBef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3" name="Picture 2" descr="A picture containing text, clipart, vector graphics&#10;&#10;Description automatically generated">
            <a:extLst>
              <a:ext uri="{FF2B5EF4-FFF2-40B4-BE49-F238E27FC236}">
                <a16:creationId xmlns:a16="http://schemas.microsoft.com/office/drawing/2014/main" id="{1EDB5DD6-7EEC-4352-A329-2F38675262D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5800" y="2751981"/>
            <a:ext cx="3010434" cy="1354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7020555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Dark Blue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E16005D-1F88-4049-A080-18E58886C4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E777987-AF80-FE40-A5DC-D5093D72F7A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8150544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B967013-4DC9-A04B-B979-69C0CB1C98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2425099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Dark Blue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E16005D-1F88-4049-A080-18E58886C4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B967013-4DC9-A04B-B979-69C0CB1C98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C0A9C-3157-C6E9-E1C2-BEEAD5E5A5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28985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A0EF1490-F660-E664-128A-26932B78FC9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28985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63140650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erry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12E709-A30E-4DDE-F3EF-8AE6B3C1B5B2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097CF4C-8A18-814C-B219-D2786455E0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0737808-75DD-1C45-B1A1-280C2BB8634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8150544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5DCEA0E-DB5E-EB45-BBB4-7BA4B83384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8603976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erry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12E709-A30E-4DDE-F3EF-8AE6B3C1B5B2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097CF4C-8A18-814C-B219-D2786455E0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5DCEA0E-DB5E-EB45-BBB4-7BA4B83384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CEFD47A6-A33F-69CF-4422-E6908DC9B9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28985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CE29EA41-768C-6B69-7AD8-F8773E3036B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28985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4610246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Lighter Blue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8B92AFC-ED64-DB45-9244-44C168BDE0AC}"/>
              </a:ext>
            </a:extLst>
          </p:cNvPr>
          <p:cNvSpPr/>
          <p:nvPr userDrawn="1"/>
        </p:nvSpPr>
        <p:spPr>
          <a:xfrm>
            <a:off x="0" y="0"/>
            <a:ext cx="6096001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2" y="1373259"/>
            <a:ext cx="5032057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84C018-45E2-1484-F05F-EA4D31F40821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0CE3E2-E034-CA54-7E74-0AD15FF2A3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47244463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Lighter Blue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8B92AFC-ED64-DB45-9244-44C168BDE0AC}"/>
              </a:ext>
            </a:extLst>
          </p:cNvPr>
          <p:cNvSpPr/>
          <p:nvPr userDrawn="1"/>
        </p:nvSpPr>
        <p:spPr>
          <a:xfrm>
            <a:off x="0" y="0"/>
            <a:ext cx="6096001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60590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84C018-45E2-1484-F05F-EA4D31F40821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0CE3E2-E034-CA54-7E74-0AD15FF2A3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7A66765C-EDB8-E7EB-7E5D-C406CA01B5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0590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9513053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Darker Blue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4700783-38EA-A14F-8386-394787B4AB61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2" y="1373259"/>
            <a:ext cx="5032057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B590D43-51B2-E902-AD38-B40FD459CB8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A806746-F11E-2C56-94AD-E1D275BC52E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016317399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Darker Blue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4700783-38EA-A14F-8386-394787B4AB61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B590D43-51B2-E902-AD38-B40FD459CB8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A806746-F11E-2C56-94AD-E1D275BC52E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7963B7-F628-2D68-F6DB-AF27E27269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60590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053EB6CF-6606-F15B-4EA0-10F2B110625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0590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41543448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erry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903018F-389D-2B05-2192-AAB586AED729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2" y="1373259"/>
            <a:ext cx="5032057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6E538A-5EE6-1459-24B2-41ED4900400B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1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D97E0F3-88DD-850F-5C8F-2CA13DAACBE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1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35473684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erry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903018F-389D-2B05-2192-AAB586AED729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6E538A-5EE6-1459-24B2-41ED4900400B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1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D97E0F3-88DD-850F-5C8F-2CA13DAACBE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1"/>
                </a:solidFill>
              </a:rPr>
              <a:t>© 2025 EVERSANA.  All Rights Reserved.  CONFIDENTIAL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E2EDFA65-3981-501C-97F4-6D2E8FEE27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60590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8249D771-5A70-F242-0447-0D4445722E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0590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32466818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tende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F70C46A5-3A79-284C-8BE0-0721A0BDF9D9}"/>
              </a:ext>
            </a:extLst>
          </p:cNvPr>
          <p:cNvSpPr txBox="1">
            <a:spLocks/>
          </p:cNvSpPr>
          <p:nvPr userDrawn="1"/>
        </p:nvSpPr>
        <p:spPr>
          <a:xfrm>
            <a:off x="609600" y="358909"/>
            <a:ext cx="10972801" cy="40309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0" rIns="0" bIns="0" anchor="t" anchorCtr="0" compatLnSpc="1">
            <a:noAutofit/>
          </a:bodyPr>
          <a:lstStyle>
            <a:lvl1pPr marL="0" marR="0" lvl="0" indent="0" algn="l" defTabSz="1219261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2400" b="1" i="0" u="none" strike="noStrike" kern="1200" cap="none" spc="0" baseline="0">
                <a:solidFill>
                  <a:schemeClr val="tx2"/>
                </a:solidFill>
                <a:uFillTx/>
                <a:latin typeface="+mj-lt"/>
              </a:defRPr>
            </a:lvl1pPr>
          </a:lstStyle>
          <a:p>
            <a:r>
              <a:rPr lang="en-US"/>
              <a:t>Meeting Attende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8D323C1-BCDE-2949-9437-A94EDAD92056}"/>
              </a:ext>
            </a:extLst>
          </p:cNvPr>
          <p:cNvSpPr/>
          <p:nvPr userDrawn="1"/>
        </p:nvSpPr>
        <p:spPr>
          <a:xfrm>
            <a:off x="1" y="1939636"/>
            <a:ext cx="12191999" cy="4918364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FC12D2A2-A662-BB40-8075-EEE4122744C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1" y="2233743"/>
            <a:ext cx="5105399" cy="38622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274320" indent="0">
              <a:spcBef>
                <a:spcPts val="1200"/>
              </a:spcBef>
              <a:buNone/>
              <a:defRPr sz="1400">
                <a:solidFill>
                  <a:schemeClr val="tx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tx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tx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ent’s Attendees Her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C538861E-9480-A947-A1AB-95AF17350D5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7000" y="2233743"/>
            <a:ext cx="5105399" cy="38622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274320" indent="0">
              <a:spcBef>
                <a:spcPts val="1200"/>
              </a:spcBef>
              <a:buNone/>
              <a:defRPr sz="1400">
                <a:solidFill>
                  <a:schemeClr val="tx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tx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tx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VERSANA’s Attendees Here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4A37F3D2-9C1A-754C-967A-68CB0AA226D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15413" y="1209019"/>
            <a:ext cx="4008354" cy="5777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client logo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FEC6CA7-DEDF-3249-8382-F7A86EF63E3D}"/>
              </a:ext>
            </a:extLst>
          </p:cNvPr>
          <p:cNvCxnSpPr>
            <a:cxnSpLocks/>
          </p:cNvCxnSpPr>
          <p:nvPr userDrawn="1"/>
        </p:nvCxnSpPr>
        <p:spPr>
          <a:xfrm>
            <a:off x="6096000" y="2233743"/>
            <a:ext cx="0" cy="3938457"/>
          </a:xfrm>
          <a:prstGeom prst="line">
            <a:avLst/>
          </a:prstGeom>
          <a:ln w="9525" cap="rnd">
            <a:solidFill>
              <a:schemeClr val="bg2"/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Picture 14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59A645CA-F94C-614F-8A2B-85D3056096E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pic>
        <p:nvPicPr>
          <p:cNvPr id="3" name="Picture 2" descr="Text, logo&#10;&#10;Description automatically generated">
            <a:extLst>
              <a:ext uri="{FF2B5EF4-FFF2-40B4-BE49-F238E27FC236}">
                <a16:creationId xmlns:a16="http://schemas.microsoft.com/office/drawing/2014/main" id="{3E45315F-7F09-42BA-815C-792889CDAD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00" y="1213590"/>
            <a:ext cx="3347873" cy="573134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FB073251-2B88-77F1-EBAF-7AD53FCE109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F186BEF-106D-F388-D398-6F0C8037EFBE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504295631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Lighter Blue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685800"/>
            <a:ext cx="4876800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805295" y="1486728"/>
            <a:ext cx="4677412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8115385-43EB-7440-886E-68C3ADCB0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0150234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Lighter Blue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685800"/>
            <a:ext cx="4876800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8115385-43EB-7440-886E-68C3ADCB0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094B398-1CD8-33B7-347B-8CA3EE42D5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656591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39EE5620-B81D-6F41-D513-0677CAFF2D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6591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55412325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Dark Blue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E16005D-1F88-4049-A080-18E58886C4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685800"/>
            <a:ext cx="4873752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E777987-AF80-FE40-A5DC-D5093D72F7A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805295" y="1486728"/>
            <a:ext cx="4677412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B967013-4DC9-A04B-B979-69C0CB1C98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2308588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Dark Blue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E16005D-1F88-4049-A080-18E58886C4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685800"/>
            <a:ext cx="4873752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B967013-4DC9-A04B-B979-69C0CB1C98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E899FF8-C8AF-5EEA-D11D-50CC4621E9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656591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41F308DB-6CFF-ED16-8773-EF615C11AE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6591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89645541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erry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12E709-A30E-4DDE-F3EF-8AE6B3C1B5B2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097CF4C-8A18-814C-B219-D2786455E0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685800"/>
            <a:ext cx="4873752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0737808-75DD-1C45-B1A1-280C2BB8634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805295" y="1486728"/>
            <a:ext cx="4677412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5DCEA0E-DB5E-EB45-BBB4-7BA4B83384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6219750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erry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12E709-A30E-4DDE-F3EF-8AE6B3C1B5B2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097CF4C-8A18-814C-B219-D2786455E0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685800"/>
            <a:ext cx="4873752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5DCEA0E-DB5E-EB45-BBB4-7BA4B83384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07678FAA-05B0-5A3A-9E9D-0991F797C0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656591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57B1DFF0-07F0-DBBB-17FF-5FE7B371893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6591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86108588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Light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4307840" y="1371599"/>
            <a:ext cx="3581574" cy="48006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066800"/>
            <a:ext cx="3574302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066800"/>
            <a:ext cx="3581574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0668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007679B-DCDF-A64B-B0FC-7BE9527C4F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45435756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Light + 1 Title + 1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2E4FD1D-BDEC-E736-BA8C-9FFE8E25204E}"/>
              </a:ext>
            </a:extLst>
          </p:cNvPr>
          <p:cNvSpPr/>
          <p:nvPr userDrawn="1"/>
        </p:nvSpPr>
        <p:spPr>
          <a:xfrm>
            <a:off x="4307840" y="1545864"/>
            <a:ext cx="3581574" cy="46507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Parallelogram 3">
            <a:extLst>
              <a:ext uri="{FF2B5EF4-FFF2-40B4-BE49-F238E27FC236}">
                <a16:creationId xmlns:a16="http://schemas.microsoft.com/office/drawing/2014/main" id="{CDCD5D82-C5E2-5D73-F5E4-C3D35422F16D}"/>
              </a:ext>
            </a:extLst>
          </p:cNvPr>
          <p:cNvSpPr/>
          <p:nvPr userDrawn="1"/>
        </p:nvSpPr>
        <p:spPr>
          <a:xfrm>
            <a:off x="614679" y="1311729"/>
            <a:ext cx="3574302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B2CE68FE-9F51-ACD7-AD33-4543E361F051}"/>
              </a:ext>
            </a:extLst>
          </p:cNvPr>
          <p:cNvSpPr/>
          <p:nvPr userDrawn="1"/>
        </p:nvSpPr>
        <p:spPr>
          <a:xfrm>
            <a:off x="4312278" y="1317264"/>
            <a:ext cx="3581574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DCFDBA1-AC82-6D86-9FC0-4E0D810BC6A3}"/>
              </a:ext>
            </a:extLst>
          </p:cNvPr>
          <p:cNvSpPr/>
          <p:nvPr userDrawn="1"/>
        </p:nvSpPr>
        <p:spPr>
          <a:xfrm>
            <a:off x="8023934" y="1317264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AD7CA1D6-C5B5-E104-774C-2B5A7FD8445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2242685"/>
            <a:ext cx="3352800" cy="377711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78C13F36-7BCA-EF90-4DA4-0F72C1B07EA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2242685"/>
            <a:ext cx="3352800" cy="377711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1171102C-087D-1CB1-8EE5-9998DE3AFA7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2242685"/>
            <a:ext cx="3352800" cy="377711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EC36F384-266C-4760-4943-4AB0BA6B3B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EA85711C-A814-DC90-87DE-98E2D438144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3604434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Light + 2 Title + 1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4307840" y="2057399"/>
            <a:ext cx="3581574" cy="41148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823265"/>
            <a:ext cx="3574302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828800"/>
            <a:ext cx="3581574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8288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2754221"/>
            <a:ext cx="3352800" cy="3341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2754221"/>
            <a:ext cx="3352800" cy="3341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2754221"/>
            <a:ext cx="3352800" cy="3341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E2DD6DF-FE85-9E0A-0E19-7D0C7BBCD9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6F67B588-9C69-C720-9C06-1FDB83A0D19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94468356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+ 3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Picture Placeholder 54">
            <a:extLst>
              <a:ext uri="{FF2B5EF4-FFF2-40B4-BE49-F238E27FC236}">
                <a16:creationId xmlns:a16="http://schemas.microsoft.com/office/drawing/2014/main" id="{F3F6F1AF-2D78-69E6-F0B8-6576EE713F6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" y="0"/>
            <a:ext cx="6096000" cy="6175816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72970C1F-675B-0ABF-7786-28B42A047999}"/>
              </a:ext>
            </a:extLst>
          </p:cNvPr>
          <p:cNvSpPr txBox="1"/>
          <p:nvPr userDrawn="1"/>
        </p:nvSpPr>
        <p:spPr bwMode="gray">
          <a:xfrm>
            <a:off x="6410325" y="4551771"/>
            <a:ext cx="5190379" cy="1371600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C3D813E-17E8-D7B1-1388-17D9B9050D5A}"/>
              </a:ext>
            </a:extLst>
          </p:cNvPr>
          <p:cNvSpPr txBox="1"/>
          <p:nvPr userDrawn="1"/>
        </p:nvSpPr>
        <p:spPr bwMode="gray">
          <a:xfrm>
            <a:off x="6410325" y="2930790"/>
            <a:ext cx="5190379" cy="1371600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46" name="Text Placeholder 7">
            <a:extLst>
              <a:ext uri="{FF2B5EF4-FFF2-40B4-BE49-F238E27FC236}">
                <a16:creationId xmlns:a16="http://schemas.microsoft.com/office/drawing/2014/main" id="{62CFDF44-7037-7160-6077-0C6E33401DC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25405" y="3269523"/>
            <a:ext cx="4111522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9DB6B106-3FE8-FEAC-8F1D-4FD515992D4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25405" y="3636669"/>
            <a:ext cx="4111522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221CF6-692E-C0B4-F6CB-3A8E325C2B46}"/>
              </a:ext>
            </a:extLst>
          </p:cNvPr>
          <p:cNvSpPr txBox="1"/>
          <p:nvPr userDrawn="1"/>
        </p:nvSpPr>
        <p:spPr bwMode="gray">
          <a:xfrm>
            <a:off x="6410325" y="1316736"/>
            <a:ext cx="5190379" cy="1371600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96F70FC-1F8B-A2BD-2389-4AF981139895}"/>
              </a:ext>
            </a:extLst>
          </p:cNvPr>
          <p:cNvGrpSpPr/>
          <p:nvPr userDrawn="1"/>
        </p:nvGrpSpPr>
        <p:grpSpPr>
          <a:xfrm>
            <a:off x="5789344" y="1305051"/>
            <a:ext cx="1394970" cy="1394970"/>
            <a:chOff x="828675" y="2082036"/>
            <a:chExt cx="841926" cy="841926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73FFA462-FD02-6D22-B7BC-D8B12B5B4124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277D5DAB-824F-69A8-1C7B-908E6D341047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F308E21F-0E3B-0420-0DE0-78CF0EB64F13}"/>
              </a:ext>
            </a:extLst>
          </p:cNvPr>
          <p:cNvGrpSpPr/>
          <p:nvPr userDrawn="1"/>
        </p:nvGrpSpPr>
        <p:grpSpPr>
          <a:xfrm>
            <a:off x="5789344" y="2924301"/>
            <a:ext cx="1394970" cy="1394970"/>
            <a:chOff x="828675" y="2082036"/>
            <a:chExt cx="841926" cy="841926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E2138A9C-C266-6B44-711D-EBF023E0BD7E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1E2BDFE9-6519-3D35-1122-53D9983FDCD8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743F2406-4FB5-99B7-7EF1-3676E898222A}"/>
              </a:ext>
            </a:extLst>
          </p:cNvPr>
          <p:cNvGrpSpPr/>
          <p:nvPr userDrawn="1"/>
        </p:nvGrpSpPr>
        <p:grpSpPr>
          <a:xfrm>
            <a:off x="5789344" y="4543551"/>
            <a:ext cx="1394970" cy="1394970"/>
            <a:chOff x="828675" y="2082036"/>
            <a:chExt cx="841926" cy="841926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7FCB5D0B-6A8F-F899-05EB-D7E9664059C3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A134FBE2-518D-1CFD-1AE2-8F92BF50C6AF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7" name="Title 1">
            <a:extLst>
              <a:ext uri="{FF2B5EF4-FFF2-40B4-BE49-F238E27FC236}">
                <a16:creationId xmlns:a16="http://schemas.microsoft.com/office/drawing/2014/main" id="{44058530-687E-1944-449D-CDD8CAB6A3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6833" y="358909"/>
            <a:ext cx="5135568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8AFAF07E-BA6C-F993-36ED-3DC652E123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46833" y="793111"/>
            <a:ext cx="5135568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B2E7CDC0-06D5-2649-74DF-94FE3E7D68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2250" y="331126"/>
            <a:ext cx="3989388" cy="403225"/>
          </a:xfrm>
        </p:spPr>
        <p:txBody>
          <a:bodyPr anchor="ctr"/>
          <a:lstStyle>
            <a:lvl1pPr marL="0" indent="0" algn="r">
              <a:buNone/>
              <a:defRPr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ASE STUDY SUBJECT</a:t>
            </a:r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A58E33A8-8323-569B-1551-988D23019D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25405" y="1655469"/>
            <a:ext cx="4111522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4A3C8217-9724-B9A2-9BD2-5B32457886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325405" y="2022615"/>
            <a:ext cx="4111522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234B589B-D62B-8B74-7346-26D2CF39530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25405" y="4890504"/>
            <a:ext cx="4111522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0" name="Text Placeholder 7">
            <a:extLst>
              <a:ext uri="{FF2B5EF4-FFF2-40B4-BE49-F238E27FC236}">
                <a16:creationId xmlns:a16="http://schemas.microsoft.com/office/drawing/2014/main" id="{69D9F3F5-427B-373D-2532-8AECF747A25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325405" y="5257650"/>
            <a:ext cx="4111522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</p:spTree>
    <p:extLst>
      <p:ext uri="{BB962C8B-B14F-4D97-AF65-F5344CB8AC3E}">
        <p14:creationId xmlns:p14="http://schemas.microsoft.com/office/powerpoint/2010/main" val="2211032776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Attendee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F70C46A5-3A79-284C-8BE0-0721A0BDF9D9}"/>
              </a:ext>
            </a:extLst>
          </p:cNvPr>
          <p:cNvSpPr txBox="1">
            <a:spLocks/>
          </p:cNvSpPr>
          <p:nvPr userDrawn="1"/>
        </p:nvSpPr>
        <p:spPr>
          <a:xfrm>
            <a:off x="609600" y="358909"/>
            <a:ext cx="10972801" cy="40309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0" rIns="0" bIns="0" anchor="t" anchorCtr="0" compatLnSpc="1">
            <a:noAutofit/>
          </a:bodyPr>
          <a:lstStyle>
            <a:lvl1pPr marL="0" marR="0" lvl="0" indent="0" algn="l" defTabSz="1219261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2400" b="1" i="0" u="none" strike="noStrike" kern="1200" cap="none" spc="0" baseline="0">
                <a:solidFill>
                  <a:schemeClr val="tx2"/>
                </a:solidFill>
                <a:uFillTx/>
                <a:latin typeface="+mj-lt"/>
              </a:defRPr>
            </a:lvl1pPr>
          </a:lstStyle>
          <a:p>
            <a:r>
              <a:rPr lang="en-US"/>
              <a:t>Meet the EVERSANA team</a:t>
            </a:r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C341B25B-8D85-FBFF-2711-91D6FFD68E0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570848" y="1317413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5B2E2B80-78F2-8F69-9714-CB2EC7D565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3148" y="2612813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79E6359A-1459-6110-9BC0-205BF7EE90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3148" y="2998893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88948C7A-7958-BECC-EEC9-F1C2FE5B38D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176324" y="1317413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F3546E17-6339-06A9-A7DB-3A2355F8952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28624" y="2612813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B7861FAE-FC81-C082-227E-DE1495ACBA1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28624" y="2998893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18579FCC-5849-F2BD-BC0B-BD28EC7D471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781800" y="1317413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Text Placeholder 13">
            <a:extLst>
              <a:ext uri="{FF2B5EF4-FFF2-40B4-BE49-F238E27FC236}">
                <a16:creationId xmlns:a16="http://schemas.microsoft.com/office/drawing/2014/main" id="{08040961-D58B-AD49-A302-918B2D5C6E7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34100" y="2612813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9857015D-201A-C611-AE01-558C028BCA5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34100" y="2998893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1C1F83B-6CE6-E03C-48E0-9B42A2E70EC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387275" y="1317413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2D589C13-8931-DA1C-6C09-E898FE3C255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739575" y="2612813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25" name="Text Placeholder 13">
            <a:extLst>
              <a:ext uri="{FF2B5EF4-FFF2-40B4-BE49-F238E27FC236}">
                <a16:creationId xmlns:a16="http://schemas.microsoft.com/office/drawing/2014/main" id="{568D76B1-7A2A-72DF-C604-CBC14CA7867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739575" y="2998893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58E41E5B-C145-1148-ADBE-A1517AEFF14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570848" y="3733800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7" name="Text Placeholder 13">
            <a:extLst>
              <a:ext uri="{FF2B5EF4-FFF2-40B4-BE49-F238E27FC236}">
                <a16:creationId xmlns:a16="http://schemas.microsoft.com/office/drawing/2014/main" id="{6E177F37-262E-1B1A-729A-E1F35026204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3148" y="5029200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28" name="Text Placeholder 13">
            <a:extLst>
              <a:ext uri="{FF2B5EF4-FFF2-40B4-BE49-F238E27FC236}">
                <a16:creationId xmlns:a16="http://schemas.microsoft.com/office/drawing/2014/main" id="{1B840E57-015F-8EA4-9100-DC37EB74F18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23148" y="5415280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9" name="Picture Placeholder 6">
            <a:extLst>
              <a:ext uri="{FF2B5EF4-FFF2-40B4-BE49-F238E27FC236}">
                <a16:creationId xmlns:a16="http://schemas.microsoft.com/office/drawing/2014/main" id="{987863DE-DBB2-0F7D-7A67-609CE13721D7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176324" y="3733800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0" name="Text Placeholder 13">
            <a:extLst>
              <a:ext uri="{FF2B5EF4-FFF2-40B4-BE49-F238E27FC236}">
                <a16:creationId xmlns:a16="http://schemas.microsoft.com/office/drawing/2014/main" id="{20F93A3D-E31C-02FD-8FDA-B3640B93E0F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528624" y="5029200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31" name="Text Placeholder 13">
            <a:extLst>
              <a:ext uri="{FF2B5EF4-FFF2-40B4-BE49-F238E27FC236}">
                <a16:creationId xmlns:a16="http://schemas.microsoft.com/office/drawing/2014/main" id="{04A8C5AE-8B23-0E34-0D8A-D7E80EF9605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28624" y="5415280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2" name="Picture Placeholder 6">
            <a:extLst>
              <a:ext uri="{FF2B5EF4-FFF2-40B4-BE49-F238E27FC236}">
                <a16:creationId xmlns:a16="http://schemas.microsoft.com/office/drawing/2014/main" id="{2966E0EE-61B5-21A2-FE15-D0967C9A3D94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781800" y="3733800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3" name="Text Placeholder 13">
            <a:extLst>
              <a:ext uri="{FF2B5EF4-FFF2-40B4-BE49-F238E27FC236}">
                <a16:creationId xmlns:a16="http://schemas.microsoft.com/office/drawing/2014/main" id="{D0D2FDD1-A643-4412-79DA-6CAF10FCA51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34100" y="5029200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34" name="Text Placeholder 13">
            <a:extLst>
              <a:ext uri="{FF2B5EF4-FFF2-40B4-BE49-F238E27FC236}">
                <a16:creationId xmlns:a16="http://schemas.microsoft.com/office/drawing/2014/main" id="{BD828871-3B60-39AB-AE64-6E871003D17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34100" y="5415280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C044CB42-E1E9-241E-AA37-73C8EB4D13F1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9387275" y="3733800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6" name="Text Placeholder 13">
            <a:extLst>
              <a:ext uri="{FF2B5EF4-FFF2-40B4-BE49-F238E27FC236}">
                <a16:creationId xmlns:a16="http://schemas.microsoft.com/office/drawing/2014/main" id="{E79D4777-F3AA-74AF-81C9-7EA92FCB376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739575" y="5029200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37" name="Text Placeholder 13">
            <a:extLst>
              <a:ext uri="{FF2B5EF4-FFF2-40B4-BE49-F238E27FC236}">
                <a16:creationId xmlns:a16="http://schemas.microsoft.com/office/drawing/2014/main" id="{88A5F17C-BEBB-412A-3B04-9B8DC1F0A42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739575" y="5415280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802416831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+ 4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Picture Placeholder 54">
            <a:extLst>
              <a:ext uri="{FF2B5EF4-FFF2-40B4-BE49-F238E27FC236}">
                <a16:creationId xmlns:a16="http://schemas.microsoft.com/office/drawing/2014/main" id="{82D63F1B-C9BF-7913-D252-3E253EC1E21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" y="0"/>
            <a:ext cx="6096000" cy="6175816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067D481-562B-42D8-F213-7E140897F0FC}"/>
              </a:ext>
            </a:extLst>
          </p:cNvPr>
          <p:cNvSpPr txBox="1"/>
          <p:nvPr userDrawn="1"/>
        </p:nvSpPr>
        <p:spPr bwMode="gray">
          <a:xfrm>
            <a:off x="6410325" y="1326917"/>
            <a:ext cx="5190379" cy="1052753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EFADE37-5D4C-E8ED-DB51-73E2E1D860A3}"/>
              </a:ext>
            </a:extLst>
          </p:cNvPr>
          <p:cNvGrpSpPr/>
          <p:nvPr userDrawn="1"/>
        </p:nvGrpSpPr>
        <p:grpSpPr>
          <a:xfrm>
            <a:off x="5789344" y="1305051"/>
            <a:ext cx="1096486" cy="1096486"/>
            <a:chOff x="828675" y="2082036"/>
            <a:chExt cx="841926" cy="841926"/>
          </a:xfrm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809AF017-0BCF-CCFB-572B-61BCC8EF55FB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FF3CB7F8-480C-E891-8442-4847CCBE756D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7" name="Title 1">
            <a:extLst>
              <a:ext uri="{FF2B5EF4-FFF2-40B4-BE49-F238E27FC236}">
                <a16:creationId xmlns:a16="http://schemas.microsoft.com/office/drawing/2014/main" id="{44058530-687E-1944-449D-CDD8CAB6A3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6833" y="358909"/>
            <a:ext cx="5135568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8AFAF07E-BA6C-F993-36ED-3DC652E123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46833" y="793111"/>
            <a:ext cx="5135568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B2E7CDC0-06D5-2649-74DF-94FE3E7D68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2250" y="331126"/>
            <a:ext cx="3989388" cy="403225"/>
          </a:xfrm>
        </p:spPr>
        <p:txBody>
          <a:bodyPr anchor="ctr"/>
          <a:lstStyle>
            <a:lvl1pPr marL="0" indent="0" algn="r">
              <a:buNone/>
              <a:defRPr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ASE STUDY SUBJECT</a:t>
            </a:r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A58E33A8-8323-569B-1551-988D23019D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72738" y="1475360"/>
            <a:ext cx="4364189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4A3C8217-9724-B9A2-9BD2-5B32457886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72738" y="1842506"/>
            <a:ext cx="4364189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E55027F-C35B-C370-68AC-7F0DA13F2323}"/>
              </a:ext>
            </a:extLst>
          </p:cNvPr>
          <p:cNvSpPr txBox="1"/>
          <p:nvPr userDrawn="1"/>
        </p:nvSpPr>
        <p:spPr bwMode="gray">
          <a:xfrm>
            <a:off x="6410325" y="2592299"/>
            <a:ext cx="5190379" cy="1052753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F546826-A084-09AB-3A96-D3E3C75B14F4}"/>
              </a:ext>
            </a:extLst>
          </p:cNvPr>
          <p:cNvGrpSpPr/>
          <p:nvPr userDrawn="1"/>
        </p:nvGrpSpPr>
        <p:grpSpPr>
          <a:xfrm>
            <a:off x="5789344" y="2570433"/>
            <a:ext cx="1096486" cy="1096486"/>
            <a:chOff x="828675" y="2082036"/>
            <a:chExt cx="841926" cy="841926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44AA2F92-0C16-E2BC-82CF-46E3E918DCFC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49E28793-17D6-8EE6-773B-FBCD5C5EF71A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85E23864-C902-882B-66DF-19CF2982624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072738" y="2769642"/>
            <a:ext cx="4364189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42F712B5-AE68-0197-6D93-C82ABF6113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072738" y="3136788"/>
            <a:ext cx="4364189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86F773E-6584-B454-4B5D-C8E244D39CCE}"/>
              </a:ext>
            </a:extLst>
          </p:cNvPr>
          <p:cNvSpPr txBox="1"/>
          <p:nvPr userDrawn="1"/>
        </p:nvSpPr>
        <p:spPr bwMode="gray">
          <a:xfrm>
            <a:off x="6410325" y="3857681"/>
            <a:ext cx="5190379" cy="1052753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B02DFB3F-1E22-2C2F-ABC1-961BE837B659}"/>
              </a:ext>
            </a:extLst>
          </p:cNvPr>
          <p:cNvGrpSpPr/>
          <p:nvPr userDrawn="1"/>
        </p:nvGrpSpPr>
        <p:grpSpPr>
          <a:xfrm>
            <a:off x="5789344" y="3835814"/>
            <a:ext cx="1096486" cy="1096486"/>
            <a:chOff x="828675" y="2082036"/>
            <a:chExt cx="841926" cy="841926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1DD830DE-6A88-9F13-C807-2F33A626D87B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3D06FFF1-1EBE-83B3-936F-84C666AA6AAB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82CC4075-2B35-9E5D-9C6E-0AA54A6892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072738" y="4024597"/>
            <a:ext cx="4364189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A00EDACA-67C9-A9FE-8058-D127D6A765C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072738" y="4391743"/>
            <a:ext cx="4364189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B8F9648-F688-A4AB-D6BD-523F183883AB}"/>
              </a:ext>
            </a:extLst>
          </p:cNvPr>
          <p:cNvSpPr txBox="1"/>
          <p:nvPr userDrawn="1"/>
        </p:nvSpPr>
        <p:spPr bwMode="gray">
          <a:xfrm>
            <a:off x="6410325" y="5123063"/>
            <a:ext cx="5190379" cy="1052753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37AEB0D2-8A0A-6A92-88C1-6F06D605175C}"/>
              </a:ext>
            </a:extLst>
          </p:cNvPr>
          <p:cNvGrpSpPr/>
          <p:nvPr userDrawn="1"/>
        </p:nvGrpSpPr>
        <p:grpSpPr>
          <a:xfrm>
            <a:off x="5789344" y="5101196"/>
            <a:ext cx="1096486" cy="1096486"/>
            <a:chOff x="828675" y="2082036"/>
            <a:chExt cx="841926" cy="841926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5BEE77C1-5405-1D50-0790-FD7CAD89F48A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091C7400-A9F1-848F-025B-8D4986A418DD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2" name="Text Placeholder 7">
            <a:extLst>
              <a:ext uri="{FF2B5EF4-FFF2-40B4-BE49-F238E27FC236}">
                <a16:creationId xmlns:a16="http://schemas.microsoft.com/office/drawing/2014/main" id="{91FE1542-0906-C992-8D1B-956F3ACAAE3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072738" y="5271506"/>
            <a:ext cx="4364189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3" name="Text Placeholder 7">
            <a:extLst>
              <a:ext uri="{FF2B5EF4-FFF2-40B4-BE49-F238E27FC236}">
                <a16:creationId xmlns:a16="http://schemas.microsoft.com/office/drawing/2014/main" id="{ADD1825B-9331-3181-8C4A-7E23F76D32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072738" y="5638652"/>
            <a:ext cx="4364189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</p:spTree>
    <p:extLst>
      <p:ext uri="{BB962C8B-B14F-4D97-AF65-F5344CB8AC3E}">
        <p14:creationId xmlns:p14="http://schemas.microsoft.com/office/powerpoint/2010/main" val="3192710068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Dark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792430F-1DA2-AE53-147B-3A50E7FA141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614178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7062518-DB3B-18EF-19FA-FB98A15F6855}"/>
              </a:ext>
            </a:extLst>
          </p:cNvPr>
          <p:cNvSpPr/>
          <p:nvPr userDrawn="1"/>
        </p:nvSpPr>
        <p:spPr>
          <a:xfrm>
            <a:off x="4315413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74EE9DE-7168-44E2-8163-C88CEA71BE67}"/>
              </a:ext>
            </a:extLst>
          </p:cNvPr>
          <p:cNvSpPr/>
          <p:nvPr userDrawn="1"/>
        </p:nvSpPr>
        <p:spPr>
          <a:xfrm>
            <a:off x="8027069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2BCD1D3-07DC-79B0-9B2D-8973478FC8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AB6833D-6DCD-90CD-0AB2-1B2884BBDA0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452D60B-4DBB-8665-B01A-B81CB8291C1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066800"/>
            <a:ext cx="3574302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3"/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066800"/>
            <a:ext cx="3581574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87000">
                <a:schemeClr val="tx2">
                  <a:lumMod val="50000"/>
                </a:schemeClr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0668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007679B-DCDF-A64B-B0FC-7BE9527C4F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58483478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Dark + 1 Title + 1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792430F-1DA2-AE53-147B-3A50E7FA141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614178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7062518-DB3B-18EF-19FA-FB98A15F6855}"/>
              </a:ext>
            </a:extLst>
          </p:cNvPr>
          <p:cNvSpPr/>
          <p:nvPr userDrawn="1"/>
        </p:nvSpPr>
        <p:spPr>
          <a:xfrm>
            <a:off x="4315413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74EE9DE-7168-44E2-8163-C88CEA71BE67}"/>
              </a:ext>
            </a:extLst>
          </p:cNvPr>
          <p:cNvSpPr/>
          <p:nvPr userDrawn="1"/>
        </p:nvSpPr>
        <p:spPr>
          <a:xfrm>
            <a:off x="8027069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2BCD1D3-07DC-79B0-9B2D-8973478FC8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AB6833D-6DCD-90CD-0AB2-1B2884BBDA0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452D60B-4DBB-8665-B01A-B81CB8291C1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295400"/>
            <a:ext cx="3574302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3"/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295400"/>
            <a:ext cx="3581574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87000">
                <a:schemeClr val="tx2">
                  <a:lumMod val="50000"/>
                </a:schemeClr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2954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2133601"/>
            <a:ext cx="3352800" cy="3886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2133601"/>
            <a:ext cx="3352800" cy="3886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2133601"/>
            <a:ext cx="3352800" cy="3886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C2D19E8A-BABB-6BF4-B716-E947CBF348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F0BA3B4B-CC96-D9B6-F8E5-AAE306CB87D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53477575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Dark + 2 Titles + 1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792430F-1DA2-AE53-147B-3A50E7FA141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614178" y="1905000"/>
            <a:ext cx="3575304" cy="4267200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7062518-DB3B-18EF-19FA-FB98A15F6855}"/>
              </a:ext>
            </a:extLst>
          </p:cNvPr>
          <p:cNvSpPr/>
          <p:nvPr userDrawn="1"/>
        </p:nvSpPr>
        <p:spPr>
          <a:xfrm>
            <a:off x="4315413" y="1905000"/>
            <a:ext cx="3575304" cy="4267200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74EE9DE-7168-44E2-8163-C88CEA71BE67}"/>
              </a:ext>
            </a:extLst>
          </p:cNvPr>
          <p:cNvSpPr/>
          <p:nvPr userDrawn="1"/>
        </p:nvSpPr>
        <p:spPr>
          <a:xfrm>
            <a:off x="8027069" y="1905000"/>
            <a:ext cx="3575304" cy="4267200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2BCD1D3-07DC-79B0-9B2D-8973478FC8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AB6833D-6DCD-90CD-0AB2-1B2884BBDA0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452D60B-4DBB-8665-B01A-B81CB8291C1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676400"/>
            <a:ext cx="3574302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3"/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676400"/>
            <a:ext cx="3581574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87000">
                <a:schemeClr val="tx2">
                  <a:lumMod val="50000"/>
                </a:schemeClr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6764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2514601"/>
            <a:ext cx="3352800" cy="350519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2514601"/>
            <a:ext cx="3352800" cy="350519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2514601"/>
            <a:ext cx="3352800" cy="350519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DB6F6D5-7CBF-8C0B-8573-1B678805D1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61D92359-B00F-9E88-8D99-1D701CC84D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16394643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C284F4C2-51B1-664C-BDDA-A863ACA1A2EB}"/>
              </a:ext>
            </a:extLst>
          </p:cNvPr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5" name="Graphic 4" descr="Open quotation mark with solid fill">
            <a:extLst>
              <a:ext uri="{FF2B5EF4-FFF2-40B4-BE49-F238E27FC236}">
                <a16:creationId xmlns:a16="http://schemas.microsoft.com/office/drawing/2014/main" id="{42D9FF79-FC02-CC54-62F2-2BB18172FC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353425" y="3305175"/>
            <a:ext cx="5076825" cy="5076825"/>
          </a:xfrm>
          <a:prstGeom prst="rect">
            <a:avLst/>
          </a:prstGeom>
        </p:spPr>
      </p:pic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24E33C48-8C5C-A140-A6F5-DEB2EF6004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74800" y="2590402"/>
            <a:ext cx="9177867" cy="1195916"/>
          </a:xfrm>
        </p:spPr>
        <p:txBody>
          <a:bodyPr anchor="b">
            <a:noAutofit/>
          </a:bodyPr>
          <a:lstStyle>
            <a:lvl1pPr marL="0" indent="0" algn="ctr">
              <a:buNone/>
              <a:defRPr sz="3600" b="1" spc="133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This is where have an awesome quote that makes an impac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474524D-2AD9-17DA-D557-85FF846730FD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3B53EB5-DB6D-794F-4CD6-6980B0217695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pic>
        <p:nvPicPr>
          <p:cNvPr id="4" name="Graphic 3" descr="Open quotation mark with solid fill">
            <a:extLst>
              <a:ext uri="{FF2B5EF4-FFF2-40B4-BE49-F238E27FC236}">
                <a16:creationId xmlns:a16="http://schemas.microsoft.com/office/drawing/2014/main" id="{7A37AA9F-44CA-2ABE-B5EE-0177BACE63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247776" y="-1533525"/>
            <a:ext cx="5076825" cy="5076825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861229B-BA06-66C0-A9EB-E3D1B12066A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74800" y="3890303"/>
            <a:ext cx="9177338" cy="740035"/>
          </a:xfrm>
        </p:spPr>
        <p:txBody>
          <a:bodyPr/>
          <a:lstStyle>
            <a:lvl1pPr marL="0" indent="0" algn="ctr">
              <a:buNone/>
              <a:defRPr i="0" spc="600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lvl="0"/>
            <a:r>
              <a:rPr lang="en-US"/>
              <a:t>Name of quote author here</a:t>
            </a:r>
          </a:p>
        </p:txBody>
      </p:sp>
    </p:spTree>
    <p:extLst>
      <p:ext uri="{BB962C8B-B14F-4D97-AF65-F5344CB8AC3E}">
        <p14:creationId xmlns:p14="http://schemas.microsoft.com/office/powerpoint/2010/main" val="1637039287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7BB0B626-AFCA-FF02-B338-E1FDB980FB1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284F4C2-51B1-664C-BDDA-A863ACA1A2EB}"/>
              </a:ext>
            </a:extLst>
          </p:cNvPr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1722916-E6DD-FDD7-9FFA-FAF6555D26E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4FEF0E-877B-6891-74B7-B1F18855CC7D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pic>
        <p:nvPicPr>
          <p:cNvPr id="2" name="Graphic 1" descr="Open quotation mark with solid fill">
            <a:extLst>
              <a:ext uri="{FF2B5EF4-FFF2-40B4-BE49-F238E27FC236}">
                <a16:creationId xmlns:a16="http://schemas.microsoft.com/office/drawing/2014/main" id="{D428AC57-8E8C-1E41-8358-F4CF7DF86A2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8353425" y="3305175"/>
            <a:ext cx="5076825" cy="5076825"/>
          </a:xfrm>
          <a:prstGeom prst="rect">
            <a:avLst/>
          </a:prstGeom>
        </p:spPr>
      </p:pic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258D444-39A7-FB0E-F48C-31C282215F0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1247776" y="-1533525"/>
            <a:ext cx="5076825" cy="5076825"/>
          </a:xfrm>
          <a:prstGeom prst="rect">
            <a:avLst/>
          </a:prstGeom>
        </p:spPr>
      </p:pic>
      <p:sp>
        <p:nvSpPr>
          <p:cNvPr id="5" name="Text Placeholder 17">
            <a:extLst>
              <a:ext uri="{FF2B5EF4-FFF2-40B4-BE49-F238E27FC236}">
                <a16:creationId xmlns:a16="http://schemas.microsoft.com/office/drawing/2014/main" id="{B5BFCE1B-421A-DF96-36C7-2C5C31C579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74800" y="2590402"/>
            <a:ext cx="9177867" cy="1195916"/>
          </a:xfrm>
        </p:spPr>
        <p:txBody>
          <a:bodyPr anchor="b">
            <a:noAutofit/>
          </a:bodyPr>
          <a:lstStyle>
            <a:lvl1pPr marL="0" indent="0" algn="ctr">
              <a:buNone/>
              <a:defRPr sz="3600" b="1" spc="133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This is where have an awesome quote that makes an impact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076E70B7-FAE9-55F2-2E39-1333922B7D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74800" y="3890303"/>
            <a:ext cx="9177338" cy="740035"/>
          </a:xfrm>
        </p:spPr>
        <p:txBody>
          <a:bodyPr/>
          <a:lstStyle>
            <a:lvl1pPr marL="0" indent="0" algn="ctr">
              <a:buNone/>
              <a:defRPr i="0" spc="600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lvl="0"/>
            <a:r>
              <a:rPr lang="en-US"/>
              <a:t>Name of quote author here</a:t>
            </a:r>
          </a:p>
        </p:txBody>
      </p:sp>
    </p:spTree>
    <p:extLst>
      <p:ext uri="{BB962C8B-B14F-4D97-AF65-F5344CB8AC3E}">
        <p14:creationId xmlns:p14="http://schemas.microsoft.com/office/powerpoint/2010/main" val="4018025287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dos Slide +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96E172-1C24-BBC1-14BE-9F13E6D71ED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4837" y="1343770"/>
            <a:ext cx="5557423" cy="4906218"/>
          </a:xfr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274320" indent="0" algn="ctr">
              <a:buNone/>
              <a:defRPr>
                <a:solidFill>
                  <a:schemeClr val="bg1"/>
                </a:solidFill>
              </a:defRPr>
            </a:lvl2pPr>
            <a:lvl3pPr marL="548640" indent="0" algn="ctr">
              <a:buNone/>
              <a:defRPr>
                <a:solidFill>
                  <a:schemeClr val="bg1"/>
                </a:solidFill>
              </a:defRPr>
            </a:lvl3pPr>
            <a:lvl4pPr marL="822960" indent="0" algn="ctr">
              <a:buNone/>
              <a:defRPr>
                <a:solidFill>
                  <a:schemeClr val="bg1"/>
                </a:solidFill>
              </a:defRPr>
            </a:lvl4pPr>
            <a:lvl5pPr marL="109728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465D391-63E3-A9A4-3CD9-6061A4DA981C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29170" y="1419598"/>
            <a:ext cx="4754562" cy="4754563"/>
          </a:xfrm>
          <a:prstGeom prst="ellipse">
            <a:avLst/>
          </a:prstGeom>
          <a:solidFill>
            <a:schemeClr val="tx1"/>
          </a:solidFill>
          <a:ln w="31750">
            <a:gradFill>
              <a:gsLst>
                <a:gs pos="0">
                  <a:schemeClr val="accent5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8492ADA-C248-FE1F-4CF3-DBCEA252440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25088" y="2082800"/>
            <a:ext cx="1328737" cy="477838"/>
          </a:xfrm>
        </p:spPr>
        <p:txBody>
          <a:bodyPr anchor="b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10606097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dos Slide +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96E172-1C24-BBC1-14BE-9F13E6D71ED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24978" y="1343770"/>
            <a:ext cx="5557423" cy="4906218"/>
          </a:xfr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274320" indent="0" algn="ctr">
              <a:buNone/>
              <a:defRPr>
                <a:solidFill>
                  <a:schemeClr val="bg1"/>
                </a:solidFill>
              </a:defRPr>
            </a:lvl2pPr>
            <a:lvl3pPr marL="548640" indent="0" algn="ctr">
              <a:buNone/>
              <a:defRPr>
                <a:solidFill>
                  <a:schemeClr val="bg1"/>
                </a:solidFill>
              </a:defRPr>
            </a:lvl3pPr>
            <a:lvl4pPr marL="822960" indent="0" algn="ctr">
              <a:buNone/>
              <a:defRPr>
                <a:solidFill>
                  <a:schemeClr val="bg1"/>
                </a:solidFill>
              </a:defRPr>
            </a:lvl4pPr>
            <a:lvl5pPr marL="109728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465D391-63E3-A9A4-3CD9-6061A4DA981C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09600" y="1419598"/>
            <a:ext cx="4754562" cy="4754563"/>
          </a:xfrm>
          <a:prstGeom prst="ellipse">
            <a:avLst/>
          </a:prstGeom>
          <a:solidFill>
            <a:schemeClr val="tx1"/>
          </a:solidFill>
          <a:ln w="31750">
            <a:gradFill>
              <a:gsLst>
                <a:gs pos="0">
                  <a:schemeClr val="accent5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8492ADA-C248-FE1F-4CF3-DBCEA252440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600" y="2082800"/>
            <a:ext cx="1328737" cy="477838"/>
          </a:xfrm>
        </p:spPr>
        <p:txBody>
          <a:bodyPr anchor="b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24151645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 + Big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3CD3EAC5-F9B1-DF31-E12E-C860B243E5C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3200400"/>
            <a:ext cx="5325533" cy="30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274320" indent="0" algn="ctr">
              <a:buNone/>
              <a:defRPr sz="1400">
                <a:solidFill>
                  <a:schemeClr val="bg1"/>
                </a:solidFill>
              </a:defRPr>
            </a:lvl2pPr>
            <a:lvl3pPr marL="548640" indent="0" algn="ctr">
              <a:buNone/>
              <a:defRPr sz="1200">
                <a:solidFill>
                  <a:schemeClr val="bg1"/>
                </a:solidFill>
              </a:defRPr>
            </a:lvl3pPr>
            <a:lvl4pPr marL="822960" indent="0" algn="ctr">
              <a:buNone/>
              <a:defRPr sz="1100">
                <a:solidFill>
                  <a:schemeClr val="bg1"/>
                </a:solidFill>
              </a:defRPr>
            </a:lvl4pPr>
            <a:lvl5pPr marL="1097280" indent="0" algn="ct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4F7B165-818F-D0D6-E305-31F244D41A7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3200400"/>
            <a:ext cx="5325533" cy="30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274320" indent="0" algn="ctr">
              <a:buNone/>
              <a:defRPr sz="1400">
                <a:solidFill>
                  <a:schemeClr val="bg1"/>
                </a:solidFill>
              </a:defRPr>
            </a:lvl2pPr>
            <a:lvl3pPr marL="548640" indent="0" algn="ctr">
              <a:buNone/>
              <a:defRPr sz="1200">
                <a:solidFill>
                  <a:schemeClr val="bg1"/>
                </a:solidFill>
              </a:defRPr>
            </a:lvl3pPr>
            <a:lvl4pPr marL="822960" indent="0" algn="ctr">
              <a:buNone/>
              <a:defRPr sz="1100">
                <a:solidFill>
                  <a:schemeClr val="bg1"/>
                </a:solidFill>
              </a:defRPr>
            </a:lvl4pPr>
            <a:lvl5pPr marL="1097280" indent="0" algn="ct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9B1B823-60D8-CE46-7517-958CFBCFEFF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600" y="1536192"/>
            <a:ext cx="5326063" cy="1283208"/>
          </a:xfrm>
        </p:spPr>
        <p:txBody>
          <a:bodyPr/>
          <a:lstStyle>
            <a:lvl1pPr marL="0" indent="0" algn="ctr">
              <a:buNone/>
              <a:defRPr sz="10000" b="1" i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0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A1724984-5D7D-D972-7F3E-C5F7F7D38C2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56603" y="1536192"/>
            <a:ext cx="5326063" cy="1283208"/>
          </a:xfrm>
        </p:spPr>
        <p:txBody>
          <a:bodyPr/>
          <a:lstStyle>
            <a:lvl1pPr marL="0" indent="0" algn="ctr">
              <a:buNone/>
              <a:defRPr sz="10000" b="1" i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0</a:t>
            </a:r>
          </a:p>
        </p:txBody>
      </p:sp>
    </p:spTree>
    <p:extLst>
      <p:ext uri="{BB962C8B-B14F-4D97-AF65-F5344CB8AC3E}">
        <p14:creationId xmlns:p14="http://schemas.microsoft.com/office/powerpoint/2010/main" val="1181725545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 + Big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A24E0A52-23E0-05FB-D66B-EC777B13498C}"/>
              </a:ext>
            </a:extLst>
          </p:cNvPr>
          <p:cNvSpPr/>
          <p:nvPr userDrawn="1"/>
        </p:nvSpPr>
        <p:spPr>
          <a:xfrm>
            <a:off x="-3200400" y="1295400"/>
            <a:ext cx="9220200" cy="9220200"/>
          </a:xfrm>
          <a:prstGeom prst="ellipse">
            <a:avLst/>
          </a:prstGeom>
          <a:gradFill>
            <a:gsLst>
              <a:gs pos="99000">
                <a:schemeClr val="accent2"/>
              </a:gs>
              <a:gs pos="0">
                <a:schemeClr val="accent5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4F7B165-818F-D0D6-E305-31F244D41A7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72200" y="2362200"/>
            <a:ext cx="5325533" cy="1905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274320" indent="0" algn="ctr">
              <a:buNone/>
              <a:defRPr sz="1400">
                <a:solidFill>
                  <a:schemeClr val="bg1"/>
                </a:solidFill>
              </a:defRPr>
            </a:lvl2pPr>
            <a:lvl3pPr marL="548640" indent="0" algn="ctr">
              <a:buNone/>
              <a:defRPr sz="1200">
                <a:solidFill>
                  <a:schemeClr val="bg1"/>
                </a:solidFill>
              </a:defRPr>
            </a:lvl3pPr>
            <a:lvl4pPr marL="822960" indent="0" algn="ctr">
              <a:buNone/>
              <a:defRPr sz="1100">
                <a:solidFill>
                  <a:schemeClr val="bg1"/>
                </a:solidFill>
              </a:defRPr>
            </a:lvl4pPr>
            <a:lvl5pPr marL="1097280" indent="0" algn="ct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5791957F-5F46-299A-A09D-E57E20BB811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600" y="2895600"/>
            <a:ext cx="8229600" cy="193104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buNone/>
              <a:defRPr sz="20000" b="1">
                <a:solidFill>
                  <a:schemeClr val="bg1"/>
                </a:solidFill>
              </a:defRPr>
            </a:lvl1pPr>
            <a:lvl2pPr algn="ctr">
              <a:defRPr sz="1400">
                <a:solidFill>
                  <a:schemeClr val="bg1"/>
                </a:solidFill>
              </a:defRPr>
            </a:lvl2pPr>
            <a:lvl3pPr algn="ctr">
              <a:defRPr sz="1200">
                <a:solidFill>
                  <a:schemeClr val="bg1"/>
                </a:solidFill>
              </a:defRPr>
            </a:lvl3pPr>
            <a:lvl4pPr algn="ctr">
              <a:defRPr sz="1100">
                <a:solidFill>
                  <a:schemeClr val="bg1"/>
                </a:solidFill>
              </a:defRPr>
            </a:lvl4pPr>
            <a:lvl5pPr algn="ctr"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00%</a:t>
            </a:r>
          </a:p>
        </p:txBody>
      </p:sp>
    </p:spTree>
    <p:extLst>
      <p:ext uri="{BB962C8B-B14F-4D97-AF65-F5344CB8AC3E}">
        <p14:creationId xmlns:p14="http://schemas.microsoft.com/office/powerpoint/2010/main" val="1743444318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head +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EA111C91-5070-BE46-8A91-DA793065A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8C25884-10FE-2441-8B12-F88C370D627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10972801" cy="4918364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>
              <a:defRPr sz="1600">
                <a:solidFill>
                  <a:schemeClr val="tx1"/>
                </a:solidFill>
              </a:defRPr>
            </a:lvl1pPr>
            <a:lvl2pPr marL="457200" indent="-182880">
              <a:spcBef>
                <a:spcPts val="1200"/>
              </a:spcBef>
              <a:defRPr sz="1400">
                <a:solidFill>
                  <a:schemeClr val="tx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tx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tx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10F5692F-18B9-AC42-9F9C-2EE1F589180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2831496"/>
      </p:ext>
    </p:ext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er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2346235-96DC-F047-8AF3-35DB5A5337D7}"/>
              </a:ext>
            </a:extLst>
          </p:cNvPr>
          <p:cNvSpPr/>
          <p:nvPr userDrawn="1"/>
        </p:nvSpPr>
        <p:spPr>
          <a:xfrm>
            <a:off x="1" y="0"/>
            <a:ext cx="12191999" cy="6864626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67634288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122747408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rry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23F4591-3A53-02BC-4731-0C88ABAFB3B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8000">
                <a:schemeClr val="accent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752979134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er Blue Background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2346235-96DC-F047-8AF3-35DB5A5337D7}"/>
              </a:ext>
            </a:extLst>
          </p:cNvPr>
          <p:cNvSpPr/>
          <p:nvPr userDrawn="1"/>
        </p:nvSpPr>
        <p:spPr>
          <a:xfrm>
            <a:off x="1" y="0"/>
            <a:ext cx="12191999" cy="6864626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07B360F4-EEB8-0A56-E84A-F2F922FB9A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10972801" cy="4918364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>
              <a:defRPr sz="1600">
                <a:solidFill>
                  <a:schemeClr val="bg1"/>
                </a:solidFill>
              </a:defRPr>
            </a:lvl1pPr>
            <a:lvl2pPr marL="457200" indent="-182880">
              <a:spcBef>
                <a:spcPts val="1200"/>
              </a:spcBef>
              <a:defRPr sz="1400">
                <a:solidFill>
                  <a:schemeClr val="bg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bg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bg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72359353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E4651F25-37DE-C32D-E024-5F1D339C70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10972801" cy="4918364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>
              <a:defRPr sz="1600">
                <a:solidFill>
                  <a:schemeClr val="bg1"/>
                </a:solidFill>
              </a:defRPr>
            </a:lvl1pPr>
            <a:lvl2pPr marL="457200" indent="-182880">
              <a:spcBef>
                <a:spcPts val="1200"/>
              </a:spcBef>
              <a:defRPr sz="1400">
                <a:solidFill>
                  <a:schemeClr val="bg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bg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bg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23892525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rry Background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23F4591-3A53-02BC-4731-0C88ABAFB3B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8000">
                <a:schemeClr val="accent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D9D84FF4-9330-F3BA-8C5D-50FC649EBD8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10972801" cy="4918364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>
              <a:defRPr sz="1600">
                <a:solidFill>
                  <a:schemeClr val="bg1"/>
                </a:solidFill>
              </a:defRPr>
            </a:lvl1pPr>
            <a:lvl2pPr marL="457200" indent="-182880">
              <a:spcBef>
                <a:spcPts val="1200"/>
              </a:spcBef>
              <a:defRPr sz="1400">
                <a:solidFill>
                  <a:schemeClr val="bg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bg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bg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80326339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lue Background + 2 Titles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2346235-96DC-F047-8AF3-35DB5A5337D7}"/>
              </a:ext>
            </a:extLst>
          </p:cNvPr>
          <p:cNvSpPr/>
          <p:nvPr userDrawn="1"/>
        </p:nvSpPr>
        <p:spPr>
          <a:xfrm>
            <a:off x="1" y="0"/>
            <a:ext cx="12191999" cy="6864626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9040702C-77D5-B560-2787-B331D250CC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52968979-0A71-8ACF-7727-850E7388C6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E480C892-D281-B5C3-38B9-D8BF5C80FD7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80618"/>
            <a:ext cx="10972801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7367177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 + 2 Titles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9767BD3-AC2B-EDAC-70C7-1239201EC5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04E97780-7865-7A3D-1178-E6D02C0CBB6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9049E63F-7F98-83A7-0AB9-1EDC445EB4A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80618"/>
            <a:ext cx="10972801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54592919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rry Background + 2 Titles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23F4591-3A53-02BC-4731-0C88ABAFB3B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8000">
                <a:schemeClr val="accent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749DC98-ECFA-650A-D053-085675B71F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DCB15AC5-0A49-0F66-BC59-74024579EFA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37FE0F5-4D4D-15C2-2532-C07FA7B1C30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80618"/>
            <a:ext cx="10972801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79966391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t Mockup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FF6C2B9-A5A0-4244-897B-ACB749482872}"/>
              </a:ext>
            </a:extLst>
          </p:cNvPr>
          <p:cNvSpPr/>
          <p:nvPr userDrawn="1"/>
        </p:nvSpPr>
        <p:spPr>
          <a:xfrm>
            <a:off x="-1" y="0"/>
            <a:ext cx="2611891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121719B-4C87-414F-ADAF-F4493E094602}"/>
              </a:ext>
            </a:extLst>
          </p:cNvPr>
          <p:cNvSpPr/>
          <p:nvPr userDrawn="1"/>
        </p:nvSpPr>
        <p:spPr>
          <a:xfrm>
            <a:off x="-1" y="5867400"/>
            <a:ext cx="12192001" cy="990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326135-6F83-124D-917A-CD0F6AC920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20747" y="358909"/>
            <a:ext cx="6161654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E15853B-9D76-FD45-80BC-AB9AB1A932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20747" y="793111"/>
            <a:ext cx="6161654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E65C5A9-95A5-AD4D-8146-1B986E7DC4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6627" y="121782"/>
            <a:ext cx="4953000" cy="6393874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BFA5053-5737-AB44-939C-A63893F8487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78163" y="594360"/>
            <a:ext cx="4114800" cy="546811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0C2E6508-A34A-434F-B7F1-DE1263A8C9F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421409" y="1396017"/>
            <a:ext cx="6160992" cy="4166583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1" name="Picture 2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FE9F5BA-0479-1C45-AB86-EEF7DBFEBEC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C28A167-1EAD-6E6E-297E-4F75177BB61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BEA947E-BEDC-8592-F749-9650C22CAC7F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535228097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2 Subheads +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480D407-E604-3A43-8481-C3DB43C32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27970DF-10CC-3741-9635-618FEBE42D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66655478-E77A-D440-9C5A-2FA5665FD4D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517072"/>
            <a:ext cx="10972801" cy="473132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20877320"/>
      </p:ext>
    </p:extLst>
  </p:cSld>
  <p:clrMapOvr>
    <a:masterClrMapping/>
  </p:clrMapOvr>
  <p:transition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t Mockup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FF6C2B9-A5A0-4244-897B-ACB749482872}"/>
              </a:ext>
            </a:extLst>
          </p:cNvPr>
          <p:cNvSpPr/>
          <p:nvPr userDrawn="1"/>
        </p:nvSpPr>
        <p:spPr>
          <a:xfrm rot="10800000">
            <a:off x="9580109" y="0"/>
            <a:ext cx="2611891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121719B-4C87-414F-ADAF-F4493E094602}"/>
              </a:ext>
            </a:extLst>
          </p:cNvPr>
          <p:cNvSpPr/>
          <p:nvPr userDrawn="1"/>
        </p:nvSpPr>
        <p:spPr>
          <a:xfrm>
            <a:off x="-1" y="5867400"/>
            <a:ext cx="12192001" cy="990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326135-6F83-124D-917A-CD0F6AC920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8938" y="358909"/>
            <a:ext cx="6161654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E15853B-9D76-FD45-80BC-AB9AB1A932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8938" y="793111"/>
            <a:ext cx="6161654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E65C5A9-95A5-AD4D-8146-1B986E7DC4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58000" y="121782"/>
            <a:ext cx="4953000" cy="6393874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BFA5053-5737-AB44-939C-A63893F8487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289536" y="594360"/>
            <a:ext cx="4114800" cy="546811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0C2E6508-A34A-434F-B7F1-DE1263A8C9F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396017"/>
            <a:ext cx="6160992" cy="4166583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1" name="Picture 2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FE9F5BA-0479-1C45-AB86-EEF7DBFEBEC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C28A167-1EAD-6E6E-297E-4F75177BB61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BEA947E-BEDC-8592-F749-9650C22CAC7F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037092585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Mockup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FF6C2B9-A5A0-4244-897B-ACB749482872}"/>
              </a:ext>
            </a:extLst>
          </p:cNvPr>
          <p:cNvSpPr/>
          <p:nvPr userDrawn="1"/>
        </p:nvSpPr>
        <p:spPr>
          <a:xfrm>
            <a:off x="-1" y="0"/>
            <a:ext cx="2611893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121719B-4C87-414F-ADAF-F4493E094602}"/>
              </a:ext>
            </a:extLst>
          </p:cNvPr>
          <p:cNvSpPr/>
          <p:nvPr userDrawn="1"/>
        </p:nvSpPr>
        <p:spPr>
          <a:xfrm>
            <a:off x="-1" y="6144767"/>
            <a:ext cx="12192001" cy="71323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326135-6F83-124D-917A-CD0F6AC920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24200" y="358909"/>
            <a:ext cx="8458201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E15853B-9D76-FD45-80BC-AB9AB1A932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24200" y="793111"/>
            <a:ext cx="84582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21" name="Picture 2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FE9F5BA-0479-1C45-AB86-EEF7DBFEBE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E7F4362-9E29-0B4B-840A-E9C17E7CE53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22647" y="854590"/>
            <a:ext cx="8482869" cy="5775137"/>
          </a:xfrm>
          <a:prstGeom prst="rect">
            <a:avLst/>
          </a:prstGeom>
        </p:spPr>
      </p:pic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E1EE149A-D7AD-124E-B56D-4BF9B3AF4A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772399" y="1396016"/>
            <a:ext cx="3810001" cy="4318983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F1D11B7-7698-EB45-8A1F-6F65350E345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58368" y="1524000"/>
            <a:ext cx="6720840" cy="420624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4736932-0A61-0815-2AF8-05E2DADA5A2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7FD2A27-AF48-1EF5-059A-C30BD87B57EB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484104345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Mockup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FF6C2B9-A5A0-4244-897B-ACB749482872}"/>
              </a:ext>
            </a:extLst>
          </p:cNvPr>
          <p:cNvSpPr/>
          <p:nvPr userDrawn="1"/>
        </p:nvSpPr>
        <p:spPr>
          <a:xfrm rot="10800000">
            <a:off x="9580107" y="0"/>
            <a:ext cx="2611893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121719B-4C87-414F-ADAF-F4493E094602}"/>
              </a:ext>
            </a:extLst>
          </p:cNvPr>
          <p:cNvSpPr/>
          <p:nvPr userDrawn="1"/>
        </p:nvSpPr>
        <p:spPr>
          <a:xfrm>
            <a:off x="-1" y="6144767"/>
            <a:ext cx="12192001" cy="71323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326135-6F83-124D-917A-CD0F6AC920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8458201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E15853B-9D76-FD45-80BC-AB9AB1A932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793111"/>
            <a:ext cx="84582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21" name="Picture 2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FE9F5BA-0479-1C45-AB86-EEF7DBFEBE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E7F4362-9E29-0B4B-840A-E9C17E7CE53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86200" y="838200"/>
            <a:ext cx="8482869" cy="5775137"/>
          </a:xfrm>
          <a:prstGeom prst="rect">
            <a:avLst/>
          </a:prstGeom>
        </p:spPr>
      </p:pic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E1EE149A-D7AD-124E-B56D-4BF9B3AF4A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396016"/>
            <a:ext cx="3810001" cy="4318983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F1D11B7-7698-EB45-8A1F-6F65350E345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767215" y="1507610"/>
            <a:ext cx="6720840" cy="420624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4736932-0A61-0815-2AF8-05E2DADA5A2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7FD2A27-AF48-1EF5-059A-C30BD87B57EB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065090083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ackground + Dev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639D6D6-79E5-07CF-75EC-FEF900350504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1600200" y="1447800"/>
            <a:ext cx="6400800" cy="42672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A016D250-85C4-F9DF-2B36-B683BF8DFB02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534400" y="2362200"/>
            <a:ext cx="1524000" cy="32004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D048923F-0227-6A14-AF57-2034EE54D8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4400" y="1346738"/>
            <a:ext cx="7772400" cy="4825462"/>
          </a:xfrm>
          <a:prstGeom prst="rect">
            <a:avLst/>
          </a:prstGeom>
        </p:spPr>
      </p:pic>
      <p:pic>
        <p:nvPicPr>
          <p:cNvPr id="3" name="Picture 2" descr="A black screen with white lines&#10;&#10;Description automatically generated">
            <a:extLst>
              <a:ext uri="{FF2B5EF4-FFF2-40B4-BE49-F238E27FC236}">
                <a16:creationId xmlns:a16="http://schemas.microsoft.com/office/drawing/2014/main" id="{C6836275-4334-F0B4-EF60-FAF6935C121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8200" y="2286000"/>
            <a:ext cx="1700364" cy="335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8927306"/>
      </p:ext>
    </p:extLst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Wave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blue surface&#10;&#10;Description automatically generated">
            <a:extLst>
              <a:ext uri="{FF2B5EF4-FFF2-40B4-BE49-F238E27FC236}">
                <a16:creationId xmlns:a16="http://schemas.microsoft.com/office/drawing/2014/main" id="{C239EA34-EC10-D4AD-41B2-32DC2ECE4CC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duotone>
              <a:prstClr val="black"/>
              <a:schemeClr val="accent3">
                <a:tint val="45000"/>
                <a:satMod val="400000"/>
              </a:schemeClr>
            </a:duotone>
            <a:alphaModFix amt="3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7000"/>
                    </a14:imgEffect>
                    <a14:imgEffect>
                      <a14:colorTemperature colorTemp="5993"/>
                    </a14:imgEffect>
                    <a14:imgEffect>
                      <a14:saturation sat="160000"/>
                    </a14:imgEffect>
                    <a14:imgEffect>
                      <a14:brightnessContrast bright="-1000" contrast="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45728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64DFFD7-38A6-AD43-A711-AD86331D14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97263" y="2245200"/>
            <a:ext cx="5197475" cy="688975"/>
          </a:xfrm>
        </p:spPr>
        <p:txBody>
          <a:bodyPr anchor="b"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algn="ctr"/>
            <a:r>
              <a:rPr lang="en-US" sz="2400" i="0">
                <a:solidFill>
                  <a:schemeClr val="bg1"/>
                </a:solidFill>
                <a:latin typeface="Arial" panose="020B0604020202020204" pitchFamily="34" charset="0"/>
                <a:ea typeface="+mj-lt"/>
                <a:cs typeface="Arial" panose="020B0604020202020204" pitchFamily="34" charset="0"/>
              </a:rPr>
              <a:t>Divider Slide: Headline Goes Here Headline Goes He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FDF02D-188F-7544-89B9-99DABE88D94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6988" y="3886200"/>
            <a:ext cx="4518025" cy="533400"/>
          </a:xfrm>
        </p:spPr>
        <p:txBody>
          <a:bodyPr/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lvl="0"/>
            <a:r>
              <a:rPr lang="en-US"/>
              <a:t>Subhead goes her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1135782-6BC8-674D-89DB-AFE5E59E4EF5}"/>
              </a:ext>
            </a:extLst>
          </p:cNvPr>
          <p:cNvCxnSpPr>
            <a:cxnSpLocks/>
          </p:cNvCxnSpPr>
          <p:nvPr userDrawn="1"/>
        </p:nvCxnSpPr>
        <p:spPr>
          <a:xfrm flipV="1">
            <a:off x="3837243" y="3427080"/>
            <a:ext cx="4517510" cy="3840"/>
          </a:xfrm>
          <a:prstGeom prst="line">
            <a:avLst/>
          </a:prstGeom>
          <a:ln w="44450">
            <a:gradFill flip="none" rotWithShape="1">
              <a:gsLst>
                <a:gs pos="2000">
                  <a:schemeClr val="accent3"/>
                </a:gs>
                <a:gs pos="84000">
                  <a:schemeClr val="accent2"/>
                </a:gs>
              </a:gsLst>
              <a:lin ang="10800000" scaled="1"/>
              <a:tileRect/>
            </a:gra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0B46827F-5BEF-B5B9-634E-7F970545A2E9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CAC1DA5-A754-7D92-1C8D-2983478194AF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315360463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Globe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planet with lights&#10;&#10;Description automatically generated with medium confidence">
            <a:extLst>
              <a:ext uri="{FF2B5EF4-FFF2-40B4-BE49-F238E27FC236}">
                <a16:creationId xmlns:a16="http://schemas.microsoft.com/office/drawing/2014/main" id="{25CBDD77-5E34-59C2-D236-F0E47DCABF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5000"/>
          </a:blip>
          <a:srcRect l="21250" t="37504" r="21127" b="912"/>
          <a:stretch/>
        </p:blipFill>
        <p:spPr>
          <a:xfrm>
            <a:off x="0" y="-1920"/>
            <a:ext cx="12192000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64DFFD7-38A6-AD43-A711-AD86331D14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97263" y="2245200"/>
            <a:ext cx="5197475" cy="688975"/>
          </a:xfrm>
        </p:spPr>
        <p:txBody>
          <a:bodyPr anchor="b"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algn="ctr"/>
            <a:r>
              <a:rPr lang="en-US" sz="2400" i="0">
                <a:solidFill>
                  <a:schemeClr val="bg1"/>
                </a:solidFill>
                <a:latin typeface="Arial" panose="020B0604020202020204" pitchFamily="34" charset="0"/>
                <a:ea typeface="+mj-lt"/>
                <a:cs typeface="Arial" panose="020B0604020202020204" pitchFamily="34" charset="0"/>
              </a:rPr>
              <a:t>Divider Slide: Headline Goes Here Headline Goes He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FDF02D-188F-7544-89B9-99DABE88D94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6988" y="3886200"/>
            <a:ext cx="4518025" cy="533400"/>
          </a:xfrm>
        </p:spPr>
        <p:txBody>
          <a:bodyPr/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lvl="0"/>
            <a:r>
              <a:rPr lang="en-US"/>
              <a:t>Subhead goes her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1234505-59D7-E147-8DED-E1ECE7143867}"/>
              </a:ext>
            </a:extLst>
          </p:cNvPr>
          <p:cNvCxnSpPr>
            <a:cxnSpLocks/>
          </p:cNvCxnSpPr>
          <p:nvPr userDrawn="1"/>
        </p:nvCxnSpPr>
        <p:spPr>
          <a:xfrm flipV="1">
            <a:off x="3837243" y="3427080"/>
            <a:ext cx="4517510" cy="3840"/>
          </a:xfrm>
          <a:prstGeom prst="line">
            <a:avLst/>
          </a:prstGeom>
          <a:ln w="44450">
            <a:gradFill flip="none" rotWithShape="1">
              <a:gsLst>
                <a:gs pos="2000">
                  <a:schemeClr val="accent3"/>
                </a:gs>
                <a:gs pos="84000">
                  <a:schemeClr val="accent2"/>
                </a:gs>
              </a:gsLst>
              <a:lin ang="10800000" scaled="1"/>
              <a:tileRect/>
            </a:gra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C2643C2E-F4BF-3D5B-6718-BFD4C97EC71D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DA8FC35-70DA-318D-2722-01FA6A813A6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071025167"/>
      </p:ext>
    </p:extLst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+ Berry Divider Slide - Right Abstrac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E68ADEE-49A6-774B-B95D-853BD61A8B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 descr="A blue and pink gradient on a black background&#10;&#10;Description automatically generated">
            <a:extLst>
              <a:ext uri="{FF2B5EF4-FFF2-40B4-BE49-F238E27FC236}">
                <a16:creationId xmlns:a16="http://schemas.microsoft.com/office/drawing/2014/main" id="{DEB2BD91-A1A1-658C-905C-59A3E7534D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8027"/>
          <a:stretch/>
        </p:blipFill>
        <p:spPr>
          <a:xfrm>
            <a:off x="3810001" y="1"/>
            <a:ext cx="8382000" cy="6858000"/>
          </a:xfrm>
          <a:prstGeom prst="rect">
            <a:avLst/>
          </a:prstGeom>
          <a:noFill/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545221664"/>
      </p:ext>
    </p:extLst>
  </p:cSld>
  <p:clrMapOvr>
    <a:masterClrMapping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+ Orange Divider Slide - Right Abstrac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8C56740-4267-E738-E594-592735D34F5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-32673" t="19745" r="39188" b="31801"/>
          <a:stretch/>
        </p:blipFill>
        <p:spPr>
          <a:xfrm>
            <a:off x="1" y="1"/>
            <a:ext cx="12192000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654454150"/>
      </p:ext>
    </p:extLst>
  </p:cSld>
  <p:clrMapOvr>
    <a:masterClrMapping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+ Berry Divider Slide - Left Abstrac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E68ADEE-49A6-774B-B95D-853BD61A8B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 descr="A blue and pink gradient on a black background&#10;&#10;Description automatically generated">
            <a:extLst>
              <a:ext uri="{FF2B5EF4-FFF2-40B4-BE49-F238E27FC236}">
                <a16:creationId xmlns:a16="http://schemas.microsoft.com/office/drawing/2014/main" id="{DEB2BD91-A1A1-658C-905C-59A3E7534D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8027"/>
          <a:stretch/>
        </p:blipFill>
        <p:spPr>
          <a:xfrm flipH="1">
            <a:off x="0" y="1"/>
            <a:ext cx="8382000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724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774945527"/>
      </p:ext>
    </p:extLst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+ Orange Divider Slide - Left Abstrac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E68ADEE-49A6-774B-B95D-853BD61A8B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9F1D588-B725-8369-4C78-64BA93C685C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-32673" t="19745" r="39188" b="31801"/>
          <a:stretch/>
        </p:blipFill>
        <p:spPr>
          <a:xfrm flipH="1">
            <a:off x="1" y="1"/>
            <a:ext cx="12192000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724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850784193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84" Type="http://schemas.openxmlformats.org/officeDocument/2006/relationships/slideLayout" Target="../slideLayouts/slideLayout84.xml"/><Relationship Id="rId89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6.xml"/><Relationship Id="rId107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5.xml"/><Relationship Id="rId90" Type="http://schemas.openxmlformats.org/officeDocument/2006/relationships/slideLayout" Target="../slideLayouts/slideLayout90.xml"/><Relationship Id="rId95" Type="http://schemas.openxmlformats.org/officeDocument/2006/relationships/slideLayout" Target="../slideLayouts/slideLayout95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80" Type="http://schemas.openxmlformats.org/officeDocument/2006/relationships/slideLayout" Target="../slideLayouts/slideLayout80.xml"/><Relationship Id="rId85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59" Type="http://schemas.openxmlformats.org/officeDocument/2006/relationships/slideLayout" Target="../slideLayouts/slideLayout59.xml"/><Relationship Id="rId103" Type="http://schemas.openxmlformats.org/officeDocument/2006/relationships/slideLayout" Target="../slideLayouts/slideLayout103.xml"/><Relationship Id="rId108" Type="http://schemas.openxmlformats.org/officeDocument/2006/relationships/slideLayout" Target="../slideLayouts/slideLayout108.xml"/><Relationship Id="rId54" Type="http://schemas.openxmlformats.org/officeDocument/2006/relationships/slideLayout" Target="../slideLayouts/slideLayout54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91" Type="http://schemas.openxmlformats.org/officeDocument/2006/relationships/slideLayout" Target="../slideLayouts/slideLayout91.xml"/><Relationship Id="rId96" Type="http://schemas.openxmlformats.org/officeDocument/2006/relationships/slideLayout" Target="../slideLayouts/slideLayout9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6" Type="http://schemas.openxmlformats.org/officeDocument/2006/relationships/slideLayout" Target="../slideLayouts/slideLayout106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slideLayout" Target="../slideLayouts/slideLayout81.xml"/><Relationship Id="rId86" Type="http://schemas.openxmlformats.org/officeDocument/2006/relationships/slideLayout" Target="../slideLayouts/slideLayout86.xml"/><Relationship Id="rId94" Type="http://schemas.openxmlformats.org/officeDocument/2006/relationships/slideLayout" Target="../slideLayouts/slideLayout94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109" Type="http://schemas.openxmlformats.org/officeDocument/2006/relationships/slideLayout" Target="../slideLayouts/slideLayout10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04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110" Type="http://schemas.openxmlformats.org/officeDocument/2006/relationships/theme" Target="../theme/theme1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105" Type="http://schemas.openxmlformats.org/officeDocument/2006/relationships/slideLayout" Target="../slideLayouts/slideLayout105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98" Type="http://schemas.openxmlformats.org/officeDocument/2006/relationships/slideLayout" Target="../slideLayouts/slideLayout98.xml"/><Relationship Id="rId3" Type="http://schemas.openxmlformats.org/officeDocument/2006/relationships/slideLayout" Target="../slideLayouts/slideLayout3.xml"/><Relationship Id="rId25" Type="http://schemas.openxmlformats.org/officeDocument/2006/relationships/slideLayout" Target="../slideLayouts/slideLayout25.xml"/><Relationship Id="rId46" Type="http://schemas.openxmlformats.org/officeDocument/2006/relationships/slideLayout" Target="../slideLayouts/slideLayout46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62" Type="http://schemas.openxmlformats.org/officeDocument/2006/relationships/slideLayout" Target="../slideLayouts/slideLayout62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111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35.xml"/><Relationship Id="rId21" Type="http://schemas.openxmlformats.org/officeDocument/2006/relationships/slideLayout" Target="../slideLayouts/slideLayout130.xml"/><Relationship Id="rId42" Type="http://schemas.openxmlformats.org/officeDocument/2006/relationships/slideLayout" Target="../slideLayouts/slideLayout151.xml"/><Relationship Id="rId47" Type="http://schemas.openxmlformats.org/officeDocument/2006/relationships/slideLayout" Target="../slideLayouts/slideLayout156.xml"/><Relationship Id="rId63" Type="http://schemas.openxmlformats.org/officeDocument/2006/relationships/slideLayout" Target="../slideLayouts/slideLayout172.xml"/><Relationship Id="rId68" Type="http://schemas.openxmlformats.org/officeDocument/2006/relationships/slideLayout" Target="../slideLayouts/slideLayout177.xml"/><Relationship Id="rId84" Type="http://schemas.openxmlformats.org/officeDocument/2006/relationships/slideLayout" Target="../slideLayouts/slideLayout193.xml"/><Relationship Id="rId89" Type="http://schemas.openxmlformats.org/officeDocument/2006/relationships/slideLayout" Target="../slideLayouts/slideLayout198.xml"/><Relationship Id="rId16" Type="http://schemas.openxmlformats.org/officeDocument/2006/relationships/slideLayout" Target="../slideLayouts/slideLayout125.xml"/><Relationship Id="rId107" Type="http://schemas.openxmlformats.org/officeDocument/2006/relationships/image" Target="../media/image1.png"/><Relationship Id="rId11" Type="http://schemas.openxmlformats.org/officeDocument/2006/relationships/slideLayout" Target="../slideLayouts/slideLayout120.xml"/><Relationship Id="rId32" Type="http://schemas.openxmlformats.org/officeDocument/2006/relationships/slideLayout" Target="../slideLayouts/slideLayout141.xml"/><Relationship Id="rId37" Type="http://schemas.openxmlformats.org/officeDocument/2006/relationships/slideLayout" Target="../slideLayouts/slideLayout146.xml"/><Relationship Id="rId53" Type="http://schemas.openxmlformats.org/officeDocument/2006/relationships/slideLayout" Target="../slideLayouts/slideLayout162.xml"/><Relationship Id="rId58" Type="http://schemas.openxmlformats.org/officeDocument/2006/relationships/slideLayout" Target="../slideLayouts/slideLayout167.xml"/><Relationship Id="rId74" Type="http://schemas.openxmlformats.org/officeDocument/2006/relationships/slideLayout" Target="../slideLayouts/slideLayout183.xml"/><Relationship Id="rId79" Type="http://schemas.openxmlformats.org/officeDocument/2006/relationships/slideLayout" Target="../slideLayouts/slideLayout188.xml"/><Relationship Id="rId102" Type="http://schemas.openxmlformats.org/officeDocument/2006/relationships/slideLayout" Target="../slideLayouts/slideLayout211.xml"/><Relationship Id="rId5" Type="http://schemas.openxmlformats.org/officeDocument/2006/relationships/slideLayout" Target="../slideLayouts/slideLayout114.xml"/><Relationship Id="rId90" Type="http://schemas.openxmlformats.org/officeDocument/2006/relationships/slideLayout" Target="../slideLayouts/slideLayout199.xml"/><Relationship Id="rId95" Type="http://schemas.openxmlformats.org/officeDocument/2006/relationships/slideLayout" Target="../slideLayouts/slideLayout204.xml"/><Relationship Id="rId22" Type="http://schemas.openxmlformats.org/officeDocument/2006/relationships/slideLayout" Target="../slideLayouts/slideLayout131.xml"/><Relationship Id="rId27" Type="http://schemas.openxmlformats.org/officeDocument/2006/relationships/slideLayout" Target="../slideLayouts/slideLayout136.xml"/><Relationship Id="rId43" Type="http://schemas.openxmlformats.org/officeDocument/2006/relationships/slideLayout" Target="../slideLayouts/slideLayout152.xml"/><Relationship Id="rId48" Type="http://schemas.openxmlformats.org/officeDocument/2006/relationships/slideLayout" Target="../slideLayouts/slideLayout157.xml"/><Relationship Id="rId64" Type="http://schemas.openxmlformats.org/officeDocument/2006/relationships/slideLayout" Target="../slideLayouts/slideLayout173.xml"/><Relationship Id="rId69" Type="http://schemas.openxmlformats.org/officeDocument/2006/relationships/slideLayout" Target="../slideLayouts/slideLayout178.xml"/><Relationship Id="rId80" Type="http://schemas.openxmlformats.org/officeDocument/2006/relationships/slideLayout" Target="../slideLayouts/slideLayout189.xml"/><Relationship Id="rId85" Type="http://schemas.openxmlformats.org/officeDocument/2006/relationships/slideLayout" Target="../slideLayouts/slideLayout194.xml"/><Relationship Id="rId12" Type="http://schemas.openxmlformats.org/officeDocument/2006/relationships/slideLayout" Target="../slideLayouts/slideLayout121.xml"/><Relationship Id="rId17" Type="http://schemas.openxmlformats.org/officeDocument/2006/relationships/slideLayout" Target="../slideLayouts/slideLayout126.xml"/><Relationship Id="rId33" Type="http://schemas.openxmlformats.org/officeDocument/2006/relationships/slideLayout" Target="../slideLayouts/slideLayout142.xml"/><Relationship Id="rId38" Type="http://schemas.openxmlformats.org/officeDocument/2006/relationships/slideLayout" Target="../slideLayouts/slideLayout147.xml"/><Relationship Id="rId59" Type="http://schemas.openxmlformats.org/officeDocument/2006/relationships/slideLayout" Target="../slideLayouts/slideLayout168.xml"/><Relationship Id="rId103" Type="http://schemas.openxmlformats.org/officeDocument/2006/relationships/slideLayout" Target="../slideLayouts/slideLayout212.xml"/><Relationship Id="rId20" Type="http://schemas.openxmlformats.org/officeDocument/2006/relationships/slideLayout" Target="../slideLayouts/slideLayout129.xml"/><Relationship Id="rId41" Type="http://schemas.openxmlformats.org/officeDocument/2006/relationships/slideLayout" Target="../slideLayouts/slideLayout150.xml"/><Relationship Id="rId54" Type="http://schemas.openxmlformats.org/officeDocument/2006/relationships/slideLayout" Target="../slideLayouts/slideLayout163.xml"/><Relationship Id="rId62" Type="http://schemas.openxmlformats.org/officeDocument/2006/relationships/slideLayout" Target="../slideLayouts/slideLayout171.xml"/><Relationship Id="rId70" Type="http://schemas.openxmlformats.org/officeDocument/2006/relationships/slideLayout" Target="../slideLayouts/slideLayout179.xml"/><Relationship Id="rId75" Type="http://schemas.openxmlformats.org/officeDocument/2006/relationships/slideLayout" Target="../slideLayouts/slideLayout184.xml"/><Relationship Id="rId83" Type="http://schemas.openxmlformats.org/officeDocument/2006/relationships/slideLayout" Target="../slideLayouts/slideLayout192.xml"/><Relationship Id="rId88" Type="http://schemas.openxmlformats.org/officeDocument/2006/relationships/slideLayout" Target="../slideLayouts/slideLayout197.xml"/><Relationship Id="rId91" Type="http://schemas.openxmlformats.org/officeDocument/2006/relationships/slideLayout" Target="../slideLayouts/slideLayout200.xml"/><Relationship Id="rId96" Type="http://schemas.openxmlformats.org/officeDocument/2006/relationships/slideLayout" Target="../slideLayouts/slideLayout205.xml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15" Type="http://schemas.openxmlformats.org/officeDocument/2006/relationships/slideLayout" Target="../slideLayouts/slideLayout124.xml"/><Relationship Id="rId23" Type="http://schemas.openxmlformats.org/officeDocument/2006/relationships/slideLayout" Target="../slideLayouts/slideLayout132.xml"/><Relationship Id="rId28" Type="http://schemas.openxmlformats.org/officeDocument/2006/relationships/slideLayout" Target="../slideLayouts/slideLayout137.xml"/><Relationship Id="rId36" Type="http://schemas.openxmlformats.org/officeDocument/2006/relationships/slideLayout" Target="../slideLayouts/slideLayout145.xml"/><Relationship Id="rId49" Type="http://schemas.openxmlformats.org/officeDocument/2006/relationships/slideLayout" Target="../slideLayouts/slideLayout158.xml"/><Relationship Id="rId57" Type="http://schemas.openxmlformats.org/officeDocument/2006/relationships/slideLayout" Target="../slideLayouts/slideLayout166.xml"/><Relationship Id="rId106" Type="http://schemas.openxmlformats.org/officeDocument/2006/relationships/theme" Target="../theme/theme2.xml"/><Relationship Id="rId10" Type="http://schemas.openxmlformats.org/officeDocument/2006/relationships/slideLayout" Target="../slideLayouts/slideLayout119.xml"/><Relationship Id="rId31" Type="http://schemas.openxmlformats.org/officeDocument/2006/relationships/slideLayout" Target="../slideLayouts/slideLayout140.xml"/><Relationship Id="rId44" Type="http://schemas.openxmlformats.org/officeDocument/2006/relationships/slideLayout" Target="../slideLayouts/slideLayout153.xml"/><Relationship Id="rId52" Type="http://schemas.openxmlformats.org/officeDocument/2006/relationships/slideLayout" Target="../slideLayouts/slideLayout161.xml"/><Relationship Id="rId60" Type="http://schemas.openxmlformats.org/officeDocument/2006/relationships/slideLayout" Target="../slideLayouts/slideLayout169.xml"/><Relationship Id="rId65" Type="http://schemas.openxmlformats.org/officeDocument/2006/relationships/slideLayout" Target="../slideLayouts/slideLayout174.xml"/><Relationship Id="rId73" Type="http://schemas.openxmlformats.org/officeDocument/2006/relationships/slideLayout" Target="../slideLayouts/slideLayout182.xml"/><Relationship Id="rId78" Type="http://schemas.openxmlformats.org/officeDocument/2006/relationships/slideLayout" Target="../slideLayouts/slideLayout187.xml"/><Relationship Id="rId81" Type="http://schemas.openxmlformats.org/officeDocument/2006/relationships/slideLayout" Target="../slideLayouts/slideLayout190.xml"/><Relationship Id="rId86" Type="http://schemas.openxmlformats.org/officeDocument/2006/relationships/slideLayout" Target="../slideLayouts/slideLayout195.xml"/><Relationship Id="rId94" Type="http://schemas.openxmlformats.org/officeDocument/2006/relationships/slideLayout" Target="../slideLayouts/slideLayout203.xml"/><Relationship Id="rId99" Type="http://schemas.openxmlformats.org/officeDocument/2006/relationships/slideLayout" Target="../slideLayouts/slideLayout208.xml"/><Relationship Id="rId101" Type="http://schemas.openxmlformats.org/officeDocument/2006/relationships/slideLayout" Target="../slideLayouts/slideLayout210.xml"/><Relationship Id="rId4" Type="http://schemas.openxmlformats.org/officeDocument/2006/relationships/slideLayout" Target="../slideLayouts/slideLayout113.xml"/><Relationship Id="rId9" Type="http://schemas.openxmlformats.org/officeDocument/2006/relationships/slideLayout" Target="../slideLayouts/slideLayout118.xml"/><Relationship Id="rId13" Type="http://schemas.openxmlformats.org/officeDocument/2006/relationships/slideLayout" Target="../slideLayouts/slideLayout122.xml"/><Relationship Id="rId18" Type="http://schemas.openxmlformats.org/officeDocument/2006/relationships/slideLayout" Target="../slideLayouts/slideLayout127.xml"/><Relationship Id="rId39" Type="http://schemas.openxmlformats.org/officeDocument/2006/relationships/slideLayout" Target="../slideLayouts/slideLayout148.xml"/><Relationship Id="rId34" Type="http://schemas.openxmlformats.org/officeDocument/2006/relationships/slideLayout" Target="../slideLayouts/slideLayout143.xml"/><Relationship Id="rId50" Type="http://schemas.openxmlformats.org/officeDocument/2006/relationships/slideLayout" Target="../slideLayouts/slideLayout159.xml"/><Relationship Id="rId55" Type="http://schemas.openxmlformats.org/officeDocument/2006/relationships/slideLayout" Target="../slideLayouts/slideLayout164.xml"/><Relationship Id="rId76" Type="http://schemas.openxmlformats.org/officeDocument/2006/relationships/slideLayout" Target="../slideLayouts/slideLayout185.xml"/><Relationship Id="rId97" Type="http://schemas.openxmlformats.org/officeDocument/2006/relationships/slideLayout" Target="../slideLayouts/slideLayout206.xml"/><Relationship Id="rId104" Type="http://schemas.openxmlformats.org/officeDocument/2006/relationships/slideLayout" Target="../slideLayouts/slideLayout213.xml"/><Relationship Id="rId7" Type="http://schemas.openxmlformats.org/officeDocument/2006/relationships/slideLayout" Target="../slideLayouts/slideLayout116.xml"/><Relationship Id="rId71" Type="http://schemas.openxmlformats.org/officeDocument/2006/relationships/slideLayout" Target="../slideLayouts/slideLayout180.xml"/><Relationship Id="rId92" Type="http://schemas.openxmlformats.org/officeDocument/2006/relationships/slideLayout" Target="../slideLayouts/slideLayout201.xml"/><Relationship Id="rId2" Type="http://schemas.openxmlformats.org/officeDocument/2006/relationships/slideLayout" Target="../slideLayouts/slideLayout111.xml"/><Relationship Id="rId29" Type="http://schemas.openxmlformats.org/officeDocument/2006/relationships/slideLayout" Target="../slideLayouts/slideLayout138.xml"/><Relationship Id="rId24" Type="http://schemas.openxmlformats.org/officeDocument/2006/relationships/slideLayout" Target="../slideLayouts/slideLayout133.xml"/><Relationship Id="rId40" Type="http://schemas.openxmlformats.org/officeDocument/2006/relationships/slideLayout" Target="../slideLayouts/slideLayout149.xml"/><Relationship Id="rId45" Type="http://schemas.openxmlformats.org/officeDocument/2006/relationships/slideLayout" Target="../slideLayouts/slideLayout154.xml"/><Relationship Id="rId66" Type="http://schemas.openxmlformats.org/officeDocument/2006/relationships/slideLayout" Target="../slideLayouts/slideLayout175.xml"/><Relationship Id="rId87" Type="http://schemas.openxmlformats.org/officeDocument/2006/relationships/slideLayout" Target="../slideLayouts/slideLayout196.xml"/><Relationship Id="rId61" Type="http://schemas.openxmlformats.org/officeDocument/2006/relationships/slideLayout" Target="../slideLayouts/slideLayout170.xml"/><Relationship Id="rId82" Type="http://schemas.openxmlformats.org/officeDocument/2006/relationships/slideLayout" Target="../slideLayouts/slideLayout191.xml"/><Relationship Id="rId19" Type="http://schemas.openxmlformats.org/officeDocument/2006/relationships/slideLayout" Target="../slideLayouts/slideLayout128.xml"/><Relationship Id="rId14" Type="http://schemas.openxmlformats.org/officeDocument/2006/relationships/slideLayout" Target="../slideLayouts/slideLayout123.xml"/><Relationship Id="rId30" Type="http://schemas.openxmlformats.org/officeDocument/2006/relationships/slideLayout" Target="../slideLayouts/slideLayout139.xml"/><Relationship Id="rId35" Type="http://schemas.openxmlformats.org/officeDocument/2006/relationships/slideLayout" Target="../slideLayouts/slideLayout144.xml"/><Relationship Id="rId56" Type="http://schemas.openxmlformats.org/officeDocument/2006/relationships/slideLayout" Target="../slideLayouts/slideLayout165.xml"/><Relationship Id="rId77" Type="http://schemas.openxmlformats.org/officeDocument/2006/relationships/slideLayout" Target="../slideLayouts/slideLayout186.xml"/><Relationship Id="rId100" Type="http://schemas.openxmlformats.org/officeDocument/2006/relationships/slideLayout" Target="../slideLayouts/slideLayout209.xml"/><Relationship Id="rId105" Type="http://schemas.openxmlformats.org/officeDocument/2006/relationships/slideLayout" Target="../slideLayouts/slideLayout214.xml"/><Relationship Id="rId8" Type="http://schemas.openxmlformats.org/officeDocument/2006/relationships/slideLayout" Target="../slideLayouts/slideLayout117.xml"/><Relationship Id="rId51" Type="http://schemas.openxmlformats.org/officeDocument/2006/relationships/slideLayout" Target="../slideLayouts/slideLayout160.xml"/><Relationship Id="rId72" Type="http://schemas.openxmlformats.org/officeDocument/2006/relationships/slideLayout" Target="../slideLayouts/slideLayout181.xml"/><Relationship Id="rId93" Type="http://schemas.openxmlformats.org/officeDocument/2006/relationships/slideLayout" Target="../slideLayouts/slideLayout202.xml"/><Relationship Id="rId98" Type="http://schemas.openxmlformats.org/officeDocument/2006/relationships/slideLayout" Target="../slideLayouts/slideLayout207.xml"/><Relationship Id="rId3" Type="http://schemas.openxmlformats.org/officeDocument/2006/relationships/slideLayout" Target="../slideLayouts/slideLayout112.xml"/><Relationship Id="rId25" Type="http://schemas.openxmlformats.org/officeDocument/2006/relationships/slideLayout" Target="../slideLayouts/slideLayout134.xml"/><Relationship Id="rId46" Type="http://schemas.openxmlformats.org/officeDocument/2006/relationships/slideLayout" Target="../slideLayouts/slideLayout155.xml"/><Relationship Id="rId67" Type="http://schemas.openxmlformats.org/officeDocument/2006/relationships/slideLayout" Target="../slideLayouts/slideLayout176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40.xml"/><Relationship Id="rId21" Type="http://schemas.openxmlformats.org/officeDocument/2006/relationships/slideLayout" Target="../slideLayouts/slideLayout235.xml"/><Relationship Id="rId42" Type="http://schemas.openxmlformats.org/officeDocument/2006/relationships/slideLayout" Target="../slideLayouts/slideLayout256.xml"/><Relationship Id="rId47" Type="http://schemas.openxmlformats.org/officeDocument/2006/relationships/slideLayout" Target="../slideLayouts/slideLayout261.xml"/><Relationship Id="rId63" Type="http://schemas.openxmlformats.org/officeDocument/2006/relationships/slideLayout" Target="../slideLayouts/slideLayout277.xml"/><Relationship Id="rId68" Type="http://schemas.openxmlformats.org/officeDocument/2006/relationships/slideLayout" Target="../slideLayouts/slideLayout282.xml"/><Relationship Id="rId84" Type="http://schemas.openxmlformats.org/officeDocument/2006/relationships/slideLayout" Target="../slideLayouts/slideLayout298.xml"/><Relationship Id="rId89" Type="http://schemas.openxmlformats.org/officeDocument/2006/relationships/slideLayout" Target="../slideLayouts/slideLayout303.xml"/><Relationship Id="rId16" Type="http://schemas.openxmlformats.org/officeDocument/2006/relationships/slideLayout" Target="../slideLayouts/slideLayout230.xml"/><Relationship Id="rId107" Type="http://schemas.openxmlformats.org/officeDocument/2006/relationships/theme" Target="../theme/theme3.xml"/><Relationship Id="rId11" Type="http://schemas.openxmlformats.org/officeDocument/2006/relationships/slideLayout" Target="../slideLayouts/slideLayout225.xml"/><Relationship Id="rId32" Type="http://schemas.openxmlformats.org/officeDocument/2006/relationships/slideLayout" Target="../slideLayouts/slideLayout246.xml"/><Relationship Id="rId37" Type="http://schemas.openxmlformats.org/officeDocument/2006/relationships/slideLayout" Target="../slideLayouts/slideLayout251.xml"/><Relationship Id="rId53" Type="http://schemas.openxmlformats.org/officeDocument/2006/relationships/slideLayout" Target="../slideLayouts/slideLayout267.xml"/><Relationship Id="rId58" Type="http://schemas.openxmlformats.org/officeDocument/2006/relationships/slideLayout" Target="../slideLayouts/slideLayout272.xml"/><Relationship Id="rId74" Type="http://schemas.openxmlformats.org/officeDocument/2006/relationships/slideLayout" Target="../slideLayouts/slideLayout288.xml"/><Relationship Id="rId79" Type="http://schemas.openxmlformats.org/officeDocument/2006/relationships/slideLayout" Target="../slideLayouts/slideLayout293.xml"/><Relationship Id="rId102" Type="http://schemas.openxmlformats.org/officeDocument/2006/relationships/slideLayout" Target="../slideLayouts/slideLayout316.xml"/><Relationship Id="rId5" Type="http://schemas.openxmlformats.org/officeDocument/2006/relationships/slideLayout" Target="../slideLayouts/slideLayout219.xml"/><Relationship Id="rId90" Type="http://schemas.openxmlformats.org/officeDocument/2006/relationships/slideLayout" Target="../slideLayouts/slideLayout304.xml"/><Relationship Id="rId95" Type="http://schemas.openxmlformats.org/officeDocument/2006/relationships/slideLayout" Target="../slideLayouts/slideLayout309.xml"/><Relationship Id="rId22" Type="http://schemas.openxmlformats.org/officeDocument/2006/relationships/slideLayout" Target="../slideLayouts/slideLayout236.xml"/><Relationship Id="rId27" Type="http://schemas.openxmlformats.org/officeDocument/2006/relationships/slideLayout" Target="../slideLayouts/slideLayout241.xml"/><Relationship Id="rId43" Type="http://schemas.openxmlformats.org/officeDocument/2006/relationships/slideLayout" Target="../slideLayouts/slideLayout257.xml"/><Relationship Id="rId48" Type="http://schemas.openxmlformats.org/officeDocument/2006/relationships/slideLayout" Target="../slideLayouts/slideLayout262.xml"/><Relationship Id="rId64" Type="http://schemas.openxmlformats.org/officeDocument/2006/relationships/slideLayout" Target="../slideLayouts/slideLayout278.xml"/><Relationship Id="rId69" Type="http://schemas.openxmlformats.org/officeDocument/2006/relationships/slideLayout" Target="../slideLayouts/slideLayout283.xml"/><Relationship Id="rId80" Type="http://schemas.openxmlformats.org/officeDocument/2006/relationships/slideLayout" Target="../slideLayouts/slideLayout294.xml"/><Relationship Id="rId85" Type="http://schemas.openxmlformats.org/officeDocument/2006/relationships/slideLayout" Target="../slideLayouts/slideLayout299.xml"/><Relationship Id="rId12" Type="http://schemas.openxmlformats.org/officeDocument/2006/relationships/slideLayout" Target="../slideLayouts/slideLayout226.xml"/><Relationship Id="rId17" Type="http://schemas.openxmlformats.org/officeDocument/2006/relationships/slideLayout" Target="../slideLayouts/slideLayout231.xml"/><Relationship Id="rId33" Type="http://schemas.openxmlformats.org/officeDocument/2006/relationships/slideLayout" Target="../slideLayouts/slideLayout247.xml"/><Relationship Id="rId38" Type="http://schemas.openxmlformats.org/officeDocument/2006/relationships/slideLayout" Target="../slideLayouts/slideLayout252.xml"/><Relationship Id="rId59" Type="http://schemas.openxmlformats.org/officeDocument/2006/relationships/slideLayout" Target="../slideLayouts/slideLayout273.xml"/><Relationship Id="rId103" Type="http://schemas.openxmlformats.org/officeDocument/2006/relationships/slideLayout" Target="../slideLayouts/slideLayout317.xml"/><Relationship Id="rId108" Type="http://schemas.openxmlformats.org/officeDocument/2006/relationships/image" Target="../media/image1.png"/><Relationship Id="rId20" Type="http://schemas.openxmlformats.org/officeDocument/2006/relationships/slideLayout" Target="../slideLayouts/slideLayout234.xml"/><Relationship Id="rId41" Type="http://schemas.openxmlformats.org/officeDocument/2006/relationships/slideLayout" Target="../slideLayouts/slideLayout255.xml"/><Relationship Id="rId54" Type="http://schemas.openxmlformats.org/officeDocument/2006/relationships/slideLayout" Target="../slideLayouts/slideLayout268.xml"/><Relationship Id="rId62" Type="http://schemas.openxmlformats.org/officeDocument/2006/relationships/slideLayout" Target="../slideLayouts/slideLayout276.xml"/><Relationship Id="rId70" Type="http://schemas.openxmlformats.org/officeDocument/2006/relationships/slideLayout" Target="../slideLayouts/slideLayout284.xml"/><Relationship Id="rId75" Type="http://schemas.openxmlformats.org/officeDocument/2006/relationships/slideLayout" Target="../slideLayouts/slideLayout289.xml"/><Relationship Id="rId83" Type="http://schemas.openxmlformats.org/officeDocument/2006/relationships/slideLayout" Target="../slideLayouts/slideLayout297.xml"/><Relationship Id="rId88" Type="http://schemas.openxmlformats.org/officeDocument/2006/relationships/slideLayout" Target="../slideLayouts/slideLayout302.xml"/><Relationship Id="rId91" Type="http://schemas.openxmlformats.org/officeDocument/2006/relationships/slideLayout" Target="../slideLayouts/slideLayout305.xml"/><Relationship Id="rId96" Type="http://schemas.openxmlformats.org/officeDocument/2006/relationships/slideLayout" Target="../slideLayouts/slideLayout310.xml"/><Relationship Id="rId1" Type="http://schemas.openxmlformats.org/officeDocument/2006/relationships/slideLayout" Target="../slideLayouts/slideLayout215.xml"/><Relationship Id="rId6" Type="http://schemas.openxmlformats.org/officeDocument/2006/relationships/slideLayout" Target="../slideLayouts/slideLayout220.xml"/><Relationship Id="rId15" Type="http://schemas.openxmlformats.org/officeDocument/2006/relationships/slideLayout" Target="../slideLayouts/slideLayout229.xml"/><Relationship Id="rId23" Type="http://schemas.openxmlformats.org/officeDocument/2006/relationships/slideLayout" Target="../slideLayouts/slideLayout237.xml"/><Relationship Id="rId28" Type="http://schemas.openxmlformats.org/officeDocument/2006/relationships/slideLayout" Target="../slideLayouts/slideLayout242.xml"/><Relationship Id="rId36" Type="http://schemas.openxmlformats.org/officeDocument/2006/relationships/slideLayout" Target="../slideLayouts/slideLayout250.xml"/><Relationship Id="rId49" Type="http://schemas.openxmlformats.org/officeDocument/2006/relationships/slideLayout" Target="../slideLayouts/slideLayout263.xml"/><Relationship Id="rId57" Type="http://schemas.openxmlformats.org/officeDocument/2006/relationships/slideLayout" Target="../slideLayouts/slideLayout271.xml"/><Relationship Id="rId106" Type="http://schemas.openxmlformats.org/officeDocument/2006/relationships/slideLayout" Target="../slideLayouts/slideLayout320.xml"/><Relationship Id="rId10" Type="http://schemas.openxmlformats.org/officeDocument/2006/relationships/slideLayout" Target="../slideLayouts/slideLayout224.xml"/><Relationship Id="rId31" Type="http://schemas.openxmlformats.org/officeDocument/2006/relationships/slideLayout" Target="../slideLayouts/slideLayout245.xml"/><Relationship Id="rId44" Type="http://schemas.openxmlformats.org/officeDocument/2006/relationships/slideLayout" Target="../slideLayouts/slideLayout258.xml"/><Relationship Id="rId52" Type="http://schemas.openxmlformats.org/officeDocument/2006/relationships/slideLayout" Target="../slideLayouts/slideLayout266.xml"/><Relationship Id="rId60" Type="http://schemas.openxmlformats.org/officeDocument/2006/relationships/slideLayout" Target="../slideLayouts/slideLayout274.xml"/><Relationship Id="rId65" Type="http://schemas.openxmlformats.org/officeDocument/2006/relationships/slideLayout" Target="../slideLayouts/slideLayout279.xml"/><Relationship Id="rId73" Type="http://schemas.openxmlformats.org/officeDocument/2006/relationships/slideLayout" Target="../slideLayouts/slideLayout287.xml"/><Relationship Id="rId78" Type="http://schemas.openxmlformats.org/officeDocument/2006/relationships/slideLayout" Target="../slideLayouts/slideLayout292.xml"/><Relationship Id="rId81" Type="http://schemas.openxmlformats.org/officeDocument/2006/relationships/slideLayout" Target="../slideLayouts/slideLayout295.xml"/><Relationship Id="rId86" Type="http://schemas.openxmlformats.org/officeDocument/2006/relationships/slideLayout" Target="../slideLayouts/slideLayout300.xml"/><Relationship Id="rId94" Type="http://schemas.openxmlformats.org/officeDocument/2006/relationships/slideLayout" Target="../slideLayouts/slideLayout308.xml"/><Relationship Id="rId99" Type="http://schemas.openxmlformats.org/officeDocument/2006/relationships/slideLayout" Target="../slideLayouts/slideLayout313.xml"/><Relationship Id="rId101" Type="http://schemas.openxmlformats.org/officeDocument/2006/relationships/slideLayout" Target="../slideLayouts/slideLayout315.xml"/><Relationship Id="rId4" Type="http://schemas.openxmlformats.org/officeDocument/2006/relationships/slideLayout" Target="../slideLayouts/slideLayout218.xml"/><Relationship Id="rId9" Type="http://schemas.openxmlformats.org/officeDocument/2006/relationships/slideLayout" Target="../slideLayouts/slideLayout223.xml"/><Relationship Id="rId13" Type="http://schemas.openxmlformats.org/officeDocument/2006/relationships/slideLayout" Target="../slideLayouts/slideLayout227.xml"/><Relationship Id="rId18" Type="http://schemas.openxmlformats.org/officeDocument/2006/relationships/slideLayout" Target="../slideLayouts/slideLayout232.xml"/><Relationship Id="rId39" Type="http://schemas.openxmlformats.org/officeDocument/2006/relationships/slideLayout" Target="../slideLayouts/slideLayout253.xml"/><Relationship Id="rId34" Type="http://schemas.openxmlformats.org/officeDocument/2006/relationships/slideLayout" Target="../slideLayouts/slideLayout248.xml"/><Relationship Id="rId50" Type="http://schemas.openxmlformats.org/officeDocument/2006/relationships/slideLayout" Target="../slideLayouts/slideLayout264.xml"/><Relationship Id="rId55" Type="http://schemas.openxmlformats.org/officeDocument/2006/relationships/slideLayout" Target="../slideLayouts/slideLayout269.xml"/><Relationship Id="rId76" Type="http://schemas.openxmlformats.org/officeDocument/2006/relationships/slideLayout" Target="../slideLayouts/slideLayout290.xml"/><Relationship Id="rId97" Type="http://schemas.openxmlformats.org/officeDocument/2006/relationships/slideLayout" Target="../slideLayouts/slideLayout311.xml"/><Relationship Id="rId104" Type="http://schemas.openxmlformats.org/officeDocument/2006/relationships/slideLayout" Target="../slideLayouts/slideLayout318.xml"/><Relationship Id="rId7" Type="http://schemas.openxmlformats.org/officeDocument/2006/relationships/slideLayout" Target="../slideLayouts/slideLayout221.xml"/><Relationship Id="rId71" Type="http://schemas.openxmlformats.org/officeDocument/2006/relationships/slideLayout" Target="../slideLayouts/slideLayout285.xml"/><Relationship Id="rId92" Type="http://schemas.openxmlformats.org/officeDocument/2006/relationships/slideLayout" Target="../slideLayouts/slideLayout306.xml"/><Relationship Id="rId2" Type="http://schemas.openxmlformats.org/officeDocument/2006/relationships/slideLayout" Target="../slideLayouts/slideLayout216.xml"/><Relationship Id="rId29" Type="http://schemas.openxmlformats.org/officeDocument/2006/relationships/slideLayout" Target="../slideLayouts/slideLayout243.xml"/><Relationship Id="rId24" Type="http://schemas.openxmlformats.org/officeDocument/2006/relationships/slideLayout" Target="../slideLayouts/slideLayout238.xml"/><Relationship Id="rId40" Type="http://schemas.openxmlformats.org/officeDocument/2006/relationships/slideLayout" Target="../slideLayouts/slideLayout254.xml"/><Relationship Id="rId45" Type="http://schemas.openxmlformats.org/officeDocument/2006/relationships/slideLayout" Target="../slideLayouts/slideLayout259.xml"/><Relationship Id="rId66" Type="http://schemas.openxmlformats.org/officeDocument/2006/relationships/slideLayout" Target="../slideLayouts/slideLayout280.xml"/><Relationship Id="rId87" Type="http://schemas.openxmlformats.org/officeDocument/2006/relationships/slideLayout" Target="../slideLayouts/slideLayout301.xml"/><Relationship Id="rId61" Type="http://schemas.openxmlformats.org/officeDocument/2006/relationships/slideLayout" Target="../slideLayouts/slideLayout275.xml"/><Relationship Id="rId82" Type="http://schemas.openxmlformats.org/officeDocument/2006/relationships/slideLayout" Target="../slideLayouts/slideLayout296.xml"/><Relationship Id="rId19" Type="http://schemas.openxmlformats.org/officeDocument/2006/relationships/slideLayout" Target="../slideLayouts/slideLayout233.xml"/><Relationship Id="rId14" Type="http://schemas.openxmlformats.org/officeDocument/2006/relationships/slideLayout" Target="../slideLayouts/slideLayout228.xml"/><Relationship Id="rId30" Type="http://schemas.openxmlformats.org/officeDocument/2006/relationships/slideLayout" Target="../slideLayouts/slideLayout244.xml"/><Relationship Id="rId35" Type="http://schemas.openxmlformats.org/officeDocument/2006/relationships/slideLayout" Target="../slideLayouts/slideLayout249.xml"/><Relationship Id="rId56" Type="http://schemas.openxmlformats.org/officeDocument/2006/relationships/slideLayout" Target="../slideLayouts/slideLayout270.xml"/><Relationship Id="rId77" Type="http://schemas.openxmlformats.org/officeDocument/2006/relationships/slideLayout" Target="../slideLayouts/slideLayout291.xml"/><Relationship Id="rId100" Type="http://schemas.openxmlformats.org/officeDocument/2006/relationships/slideLayout" Target="../slideLayouts/slideLayout314.xml"/><Relationship Id="rId105" Type="http://schemas.openxmlformats.org/officeDocument/2006/relationships/slideLayout" Target="../slideLayouts/slideLayout319.xml"/><Relationship Id="rId8" Type="http://schemas.openxmlformats.org/officeDocument/2006/relationships/slideLayout" Target="../slideLayouts/slideLayout222.xml"/><Relationship Id="rId51" Type="http://schemas.openxmlformats.org/officeDocument/2006/relationships/slideLayout" Target="../slideLayouts/slideLayout265.xml"/><Relationship Id="rId72" Type="http://schemas.openxmlformats.org/officeDocument/2006/relationships/slideLayout" Target="../slideLayouts/slideLayout286.xml"/><Relationship Id="rId93" Type="http://schemas.openxmlformats.org/officeDocument/2006/relationships/slideLayout" Target="../slideLayouts/slideLayout307.xml"/><Relationship Id="rId98" Type="http://schemas.openxmlformats.org/officeDocument/2006/relationships/slideLayout" Target="../slideLayouts/slideLayout312.xml"/><Relationship Id="rId3" Type="http://schemas.openxmlformats.org/officeDocument/2006/relationships/slideLayout" Target="../slideLayouts/slideLayout217.xml"/><Relationship Id="rId25" Type="http://schemas.openxmlformats.org/officeDocument/2006/relationships/slideLayout" Target="../slideLayouts/slideLayout239.xml"/><Relationship Id="rId46" Type="http://schemas.openxmlformats.org/officeDocument/2006/relationships/slideLayout" Target="../slideLayouts/slideLayout260.xml"/><Relationship Id="rId67" Type="http://schemas.openxmlformats.org/officeDocument/2006/relationships/slideLayout" Target="../slideLayouts/slideLayout28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/>
          <p:cNvSpPr txBox="1">
            <a:spLocks noGrp="1"/>
          </p:cNvSpPr>
          <p:nvPr>
            <p:ph type="title"/>
          </p:nvPr>
        </p:nvSpPr>
        <p:spPr>
          <a:xfrm>
            <a:off x="609600" y="202277"/>
            <a:ext cx="10972801" cy="6096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0" rIns="0" bIns="0" anchor="b" anchorCtr="0" compatLnSpc="1"/>
          <a:lstStyle/>
          <a:p>
            <a:pPr lvl="0"/>
            <a:r>
              <a:rPr lang="en-US"/>
              <a:t>Click to edit Master</a:t>
            </a: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AFE95962-57C7-46C8-97ED-C836BD51A2B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4800" y="710141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6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E875750-BA6E-9B41-B63A-49AB992AC3A1}" type="datetimeyyyy">
              <a:rPr lang="en-US" smtClean="0"/>
              <a:t>2025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B2C0F3-96CB-429E-967D-314E4BFE56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2006600"/>
            <a:ext cx="10972801" cy="417068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3FD5B587-7C2E-7E41-B9EC-4AD68ED9EB14}"/>
              </a:ext>
            </a:extLst>
          </p:cNvPr>
          <p:cNvPicPr>
            <a:picLocks noChangeAspect="1"/>
          </p:cNvPicPr>
          <p:nvPr userDrawn="1"/>
        </p:nvPicPr>
        <p:blipFill>
          <a:blip r:embed="rId1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D92AE7F-A0B4-1F9C-38E1-A42D1597584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2">
                    <a:lumMod val="75000"/>
                  </a:schemeClr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C864FA3-727C-C9DF-58C4-A8D392CFCD05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2">
                    <a:lumMod val="75000"/>
                  </a:schemeClr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4558389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9" r:id="rId1"/>
    <p:sldLayoutId id="2147483900" r:id="rId2"/>
    <p:sldLayoutId id="2147483910" r:id="rId3"/>
    <p:sldLayoutId id="2147483901" r:id="rId4"/>
    <p:sldLayoutId id="2147483798" r:id="rId5"/>
    <p:sldLayoutId id="2147483799" r:id="rId6"/>
    <p:sldLayoutId id="2147483872" r:id="rId7"/>
    <p:sldLayoutId id="2147483800" r:id="rId8"/>
    <p:sldLayoutId id="2147483801" r:id="rId9"/>
    <p:sldLayoutId id="2147483802" r:id="rId10"/>
    <p:sldLayoutId id="2147483803" r:id="rId11"/>
    <p:sldLayoutId id="2147483804" r:id="rId12"/>
    <p:sldLayoutId id="2147483805" r:id="rId13"/>
    <p:sldLayoutId id="2147483806" r:id="rId14"/>
    <p:sldLayoutId id="2147483807" r:id="rId15"/>
    <p:sldLayoutId id="2147483808" r:id="rId16"/>
    <p:sldLayoutId id="2147483809" r:id="rId17"/>
    <p:sldLayoutId id="2147483810" r:id="rId18"/>
    <p:sldLayoutId id="2147483811" r:id="rId19"/>
    <p:sldLayoutId id="2147483812" r:id="rId20"/>
    <p:sldLayoutId id="2147483813" r:id="rId21"/>
    <p:sldLayoutId id="2147483814" r:id="rId22"/>
    <p:sldLayoutId id="2147483815" r:id="rId23"/>
    <p:sldLayoutId id="2147483816" r:id="rId24"/>
    <p:sldLayoutId id="2147483817" r:id="rId25"/>
    <p:sldLayoutId id="2147483882" r:id="rId26"/>
    <p:sldLayoutId id="2147483873" r:id="rId27"/>
    <p:sldLayoutId id="2147483874" r:id="rId28"/>
    <p:sldLayoutId id="2147483883" r:id="rId29"/>
    <p:sldLayoutId id="2147483818" r:id="rId30"/>
    <p:sldLayoutId id="2147483819" r:id="rId31"/>
    <p:sldLayoutId id="2147483820" r:id="rId32"/>
    <p:sldLayoutId id="2147483821" r:id="rId33"/>
    <p:sldLayoutId id="2147483822" r:id="rId34"/>
    <p:sldLayoutId id="2147483823" r:id="rId35"/>
    <p:sldLayoutId id="2147483855" r:id="rId36"/>
    <p:sldLayoutId id="2147483856" r:id="rId37"/>
    <p:sldLayoutId id="2147483826" r:id="rId38"/>
    <p:sldLayoutId id="2147483857" r:id="rId39"/>
    <p:sldLayoutId id="2147483827" r:id="rId40"/>
    <p:sldLayoutId id="2147483828" r:id="rId41"/>
    <p:sldLayoutId id="2147483829" r:id="rId42"/>
    <p:sldLayoutId id="2147483889" r:id="rId43"/>
    <p:sldLayoutId id="2147483830" r:id="rId44"/>
    <p:sldLayoutId id="2147483890" r:id="rId45"/>
    <p:sldLayoutId id="2147483831" r:id="rId46"/>
    <p:sldLayoutId id="2147483891" r:id="rId47"/>
    <p:sldLayoutId id="2147483832" r:id="rId48"/>
    <p:sldLayoutId id="2147483914" r:id="rId49"/>
    <p:sldLayoutId id="2147483833" r:id="rId50"/>
    <p:sldLayoutId id="2147483915" r:id="rId51"/>
    <p:sldLayoutId id="2147483859" r:id="rId52"/>
    <p:sldLayoutId id="2147483916" r:id="rId53"/>
    <p:sldLayoutId id="2147483835" r:id="rId54"/>
    <p:sldLayoutId id="2147483917" r:id="rId55"/>
    <p:sldLayoutId id="2147483836" r:id="rId56"/>
    <p:sldLayoutId id="2147483918" r:id="rId57"/>
    <p:sldLayoutId id="2147483860" r:id="rId58"/>
    <p:sldLayoutId id="2147483919" r:id="rId59"/>
    <p:sldLayoutId id="2147483875" r:id="rId60"/>
    <p:sldLayoutId id="2147483920" r:id="rId61"/>
    <p:sldLayoutId id="2147483876" r:id="rId62"/>
    <p:sldLayoutId id="2147483921" r:id="rId63"/>
    <p:sldLayoutId id="2147483878" r:id="rId64"/>
    <p:sldLayoutId id="2147483922" r:id="rId65"/>
    <p:sldLayoutId id="2147483838" r:id="rId66"/>
    <p:sldLayoutId id="2147483870" r:id="rId67"/>
    <p:sldLayoutId id="2147483869" r:id="rId68"/>
    <p:sldLayoutId id="2147483924" r:id="rId69"/>
    <p:sldLayoutId id="2147483925" r:id="rId70"/>
    <p:sldLayoutId id="2147483885" r:id="rId71"/>
    <p:sldLayoutId id="2147483884" r:id="rId72"/>
    <p:sldLayoutId id="2147483886" r:id="rId73"/>
    <p:sldLayoutId id="2147483840" r:id="rId74"/>
    <p:sldLayoutId id="2147483841" r:id="rId75"/>
    <p:sldLayoutId id="2147483842" r:id="rId76"/>
    <p:sldLayoutId id="2147483908" r:id="rId77"/>
    <p:sldLayoutId id="2147483893" r:id="rId78"/>
    <p:sldLayoutId id="2147483895" r:id="rId79"/>
    <p:sldLayoutId id="2147483843" r:id="rId80"/>
    <p:sldLayoutId id="2147483923" r:id="rId81"/>
    <p:sldLayoutId id="2147483861" r:id="rId82"/>
    <p:sldLayoutId id="2147483863" r:id="rId83"/>
    <p:sldLayoutId id="2147483862" r:id="rId84"/>
    <p:sldLayoutId id="2147483864" r:id="rId85"/>
    <p:sldLayoutId id="2147483880" r:id="rId86"/>
    <p:sldLayoutId id="2147483879" r:id="rId87"/>
    <p:sldLayoutId id="2147483881" r:id="rId88"/>
    <p:sldLayoutId id="2147483844" r:id="rId89"/>
    <p:sldLayoutId id="2147483902" r:id="rId90"/>
    <p:sldLayoutId id="2147483845" r:id="rId91"/>
    <p:sldLayoutId id="2147483903" r:id="rId92"/>
    <p:sldLayoutId id="2147483906" r:id="rId93"/>
    <p:sldLayoutId id="2147483848" r:id="rId94"/>
    <p:sldLayoutId id="2147483849" r:id="rId95"/>
    <p:sldLayoutId id="2147483904" r:id="rId96"/>
    <p:sldLayoutId id="2147483912" r:id="rId97"/>
    <p:sldLayoutId id="2147483911" r:id="rId98"/>
    <p:sldLayoutId id="2147483913" r:id="rId99"/>
    <p:sldLayoutId id="2147483926" r:id="rId100"/>
    <p:sldLayoutId id="2147483852" r:id="rId101"/>
    <p:sldLayoutId id="2147483854" r:id="rId102"/>
    <p:sldLayoutId id="2147483853" r:id="rId103"/>
    <p:sldLayoutId id="2147483927" r:id="rId104"/>
    <p:sldLayoutId id="2147483928" r:id="rId105"/>
    <p:sldLayoutId id="2147483930" r:id="rId106"/>
    <p:sldLayoutId id="2147483933" r:id="rId107"/>
    <p:sldLayoutId id="2147484219" r:id="rId108"/>
    <p:sldLayoutId id="2147484220" r:id="rId109"/>
  </p:sldLayoutIdLst>
  <p:transition>
    <p:fade/>
  </p:transition>
  <p:hf hdr="0"/>
  <p:txStyles>
    <p:titleStyle>
      <a:lvl1pPr marL="0" marR="0" lvl="0" indent="0" algn="l" defTabSz="1219261" rtl="0" eaLnBrk="1" fontAlgn="auto" hangingPunct="1">
        <a:lnSpc>
          <a:spcPct val="100000"/>
        </a:lnSpc>
        <a:spcBef>
          <a:spcPts val="0"/>
        </a:spcBef>
        <a:spcAft>
          <a:spcPts val="0"/>
        </a:spcAft>
        <a:buNone/>
        <a:tabLst/>
        <a:defRPr lang="en-US" sz="2601" b="1" i="0" u="none" strike="noStrike" kern="1200" cap="none" spc="0" baseline="0">
          <a:solidFill>
            <a:schemeClr val="tx2"/>
          </a:solidFill>
          <a:uFillTx/>
          <a:latin typeface="+mj-lt"/>
        </a:defRPr>
      </a:lvl1pPr>
    </p:titleStyle>
    <p:bodyStyle>
      <a:lvl1pPr marL="182880" marR="0" lvl="0" indent="-182880" algn="l" defTabSz="1219261" rtl="0" eaLnBrk="1" fontAlgn="auto" hangingPunct="1">
        <a:lnSpc>
          <a:spcPct val="90000"/>
        </a:lnSpc>
        <a:spcBef>
          <a:spcPts val="1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lang="en-US" sz="1600" b="0" i="0" u="none" strike="noStrike" kern="1200" cap="none" spc="0" baseline="0">
          <a:solidFill>
            <a:schemeClr val="tx1"/>
          </a:solidFill>
          <a:uFillTx/>
          <a:latin typeface="+mn-lt"/>
        </a:defRPr>
      </a:lvl1pPr>
      <a:lvl2pPr marL="457200" marR="0" lvl="1" indent="-182880" algn="l" defTabSz="1219261" rtl="0" eaLnBrk="1" fontAlgn="auto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lang="en-US" sz="1400" b="0" i="0" u="none" strike="noStrike" kern="1200" cap="none" spc="0" baseline="0">
          <a:solidFill>
            <a:schemeClr val="tx1"/>
          </a:solidFill>
          <a:uFillTx/>
          <a:latin typeface="+mn-lt"/>
        </a:defRPr>
      </a:lvl2pPr>
      <a:lvl3pPr marL="731520" marR="0" lvl="2" indent="-182880" algn="l" defTabSz="1219261" rtl="0" eaLnBrk="1" fontAlgn="auto" hangingPunct="1">
        <a:lnSpc>
          <a:spcPct val="90000"/>
        </a:lnSpc>
        <a:spcBef>
          <a:spcPts val="900"/>
        </a:spcBef>
        <a:spcAft>
          <a:spcPts val="0"/>
        </a:spcAft>
        <a:buClrTx/>
        <a:buSzPct val="100000"/>
        <a:buFont typeface="Arial"/>
        <a:buChar char="•"/>
        <a:tabLst/>
        <a:defRPr lang="en-US" sz="1200" b="0" i="0" u="none" strike="noStrike" kern="1200" cap="none" spc="0" baseline="0">
          <a:solidFill>
            <a:schemeClr val="tx1"/>
          </a:solidFill>
          <a:uFillTx/>
          <a:latin typeface="+mj-lt"/>
        </a:defRPr>
      </a:lvl3pPr>
      <a:lvl4pPr marL="1005840" marR="0" lvl="3" indent="-182880" algn="l" defTabSz="1219261" rtl="0" eaLnBrk="1" fontAlgn="auto" hangingPunct="1">
        <a:lnSpc>
          <a:spcPct val="90000"/>
        </a:lnSpc>
        <a:spcBef>
          <a:spcPts val="800"/>
        </a:spcBef>
        <a:spcAft>
          <a:spcPts val="0"/>
        </a:spcAft>
        <a:buClrTx/>
        <a:buSzPct val="100000"/>
        <a:buFont typeface="Arial"/>
        <a:buChar char="•"/>
        <a:tabLst/>
        <a:defRPr lang="en-US" sz="1100" b="0" i="0" u="none" strike="noStrike" kern="1200" cap="none" spc="0" baseline="0">
          <a:solidFill>
            <a:schemeClr val="tx1"/>
          </a:solidFill>
          <a:uFillTx/>
          <a:latin typeface="+mj-lt"/>
        </a:defRPr>
      </a:lvl4pPr>
      <a:lvl5pPr marL="1280160" marR="0" lvl="4" indent="-182880" algn="l" defTabSz="1219261" rtl="0" eaLnBrk="1" fontAlgn="auto" hangingPunct="1">
        <a:lnSpc>
          <a:spcPct val="90000"/>
        </a:lnSpc>
        <a:spcBef>
          <a:spcPts val="800"/>
        </a:spcBef>
        <a:spcAft>
          <a:spcPts val="0"/>
        </a:spcAft>
        <a:buClrTx/>
        <a:buSzPct val="100000"/>
        <a:buFont typeface="Arial"/>
        <a:buChar char="•"/>
        <a:tabLst/>
        <a:defRPr lang="en-US" sz="1000" b="0" i="0" u="none" strike="noStrike" kern="1200" cap="none" spc="0" baseline="0">
          <a:solidFill>
            <a:schemeClr val="tx1"/>
          </a:solidFill>
          <a:uFillTx/>
          <a:latin typeface="+mj-lt"/>
        </a:defRPr>
      </a:lvl5pPr>
      <a:lvl8pPr marL="381019" indent="-152408" eaLnBrk="1" hangingPunct="1">
        <a:buFont typeface="Courier New" panose="02070309020205020404" pitchFamily="49" charset="0"/>
        <a:buChar char="­"/>
        <a:defRPr lang="en-US" sz="1600" b="0" i="0" u="none" strike="noStrike" kern="1200" cap="none" spc="0" baseline="0" dirty="0">
          <a:solidFill>
            <a:schemeClr val="tx1"/>
          </a:solidFill>
          <a:uFillTx/>
          <a:latin typeface="+mn-lt"/>
        </a:defRPr>
      </a:lvl8pPr>
    </p:bodyStyle>
    <p:otherStyle/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816">
          <p15:clr>
            <a:srgbClr val="F26B43"/>
          </p15:clr>
        </p15:guide>
        <p15:guide id="5">
          <p15:clr>
            <a:srgbClr val="F26B43"/>
          </p15:clr>
        </p15:guide>
        <p15:guide id="6" pos="384">
          <p15:clr>
            <a:srgbClr val="F26B43"/>
          </p15:clr>
        </p15:guide>
        <p15:guide id="7" pos="7680">
          <p15:clr>
            <a:srgbClr val="F26B43"/>
          </p15:clr>
        </p15:guide>
        <p15:guide id="8" pos="7296">
          <p15:clr>
            <a:srgbClr val="F26B43"/>
          </p15:clr>
        </p15:guide>
        <p15:guide id="10" orient="horz" pos="4320">
          <p15:clr>
            <a:srgbClr val="F26B43"/>
          </p15:clr>
        </p15:guide>
        <p15:guide id="12" orient="horz">
          <p15:clr>
            <a:srgbClr val="F26B43"/>
          </p15:clr>
        </p15:guide>
        <p15:guide id="13" orient="horz" pos="3888">
          <p15:clr>
            <a:srgbClr val="F26B43"/>
          </p15:clr>
        </p15:guide>
        <p15:guide id="14" orient="horz" pos="432">
          <p15:clr>
            <a:srgbClr val="F26B43"/>
          </p15:clr>
        </p15:guide>
        <p15:guide id="15" orient="horz" pos="126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/>
          <p:cNvSpPr txBox="1">
            <a:spLocks noGrp="1"/>
          </p:cNvSpPr>
          <p:nvPr>
            <p:ph type="title"/>
          </p:nvPr>
        </p:nvSpPr>
        <p:spPr>
          <a:xfrm>
            <a:off x="609600" y="202277"/>
            <a:ext cx="10972801" cy="6096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0" rIns="0" bIns="0" anchor="b" anchorCtr="0" compatLnSpc="1"/>
          <a:lstStyle/>
          <a:p>
            <a:pPr lvl="0"/>
            <a:r>
              <a:rPr lang="en-US"/>
              <a:t>Click to edit Master</a:t>
            </a: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AFE95962-57C7-46C8-97ED-C836BD51A2B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4800" y="710141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6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E875750-BA6E-9B41-B63A-49AB992AC3A1}" type="datetimeyyyy">
              <a:rPr lang="en-US" smtClean="0"/>
              <a:t>2025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B2C0F3-96CB-429E-967D-314E4BFE56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2006600"/>
            <a:ext cx="10972801" cy="417068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3FD5B587-7C2E-7E41-B9EC-4AD68ED9EB14}"/>
              </a:ext>
            </a:extLst>
          </p:cNvPr>
          <p:cNvPicPr>
            <a:picLocks noChangeAspect="1"/>
          </p:cNvPicPr>
          <p:nvPr userDrawn="1"/>
        </p:nvPicPr>
        <p:blipFill>
          <a:blip r:embed="rId10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D92AE7F-A0B4-1F9C-38E1-A42D1597584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2">
                    <a:lumMod val="75000"/>
                  </a:schemeClr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C864FA3-727C-C9DF-58C4-A8D392CFCD05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2">
                    <a:lumMod val="75000"/>
                  </a:schemeClr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216639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6" r:id="rId1"/>
    <p:sldLayoutId id="2147483937" r:id="rId2"/>
    <p:sldLayoutId id="2147483938" r:id="rId3"/>
    <p:sldLayoutId id="2147483939" r:id="rId4"/>
    <p:sldLayoutId id="2147483940" r:id="rId5"/>
    <p:sldLayoutId id="2147483941" r:id="rId6"/>
    <p:sldLayoutId id="2147483942" r:id="rId7"/>
    <p:sldLayoutId id="2147483943" r:id="rId8"/>
    <p:sldLayoutId id="2147483944" r:id="rId9"/>
    <p:sldLayoutId id="2147483945" r:id="rId10"/>
    <p:sldLayoutId id="2147483946" r:id="rId11"/>
    <p:sldLayoutId id="2147483947" r:id="rId12"/>
    <p:sldLayoutId id="2147483948" r:id="rId13"/>
    <p:sldLayoutId id="2147483949" r:id="rId14"/>
    <p:sldLayoutId id="2147483950" r:id="rId15"/>
    <p:sldLayoutId id="2147483951" r:id="rId16"/>
    <p:sldLayoutId id="2147483952" r:id="rId17"/>
    <p:sldLayoutId id="2147483953" r:id="rId18"/>
    <p:sldLayoutId id="2147483954" r:id="rId19"/>
    <p:sldLayoutId id="2147483955" r:id="rId20"/>
    <p:sldLayoutId id="2147483956" r:id="rId21"/>
    <p:sldLayoutId id="2147483957" r:id="rId22"/>
    <p:sldLayoutId id="2147483958" r:id="rId23"/>
    <p:sldLayoutId id="2147483959" r:id="rId24"/>
    <p:sldLayoutId id="2147483960" r:id="rId25"/>
    <p:sldLayoutId id="2147483961" r:id="rId26"/>
    <p:sldLayoutId id="2147483962" r:id="rId27"/>
    <p:sldLayoutId id="2147483963" r:id="rId28"/>
    <p:sldLayoutId id="2147483964" r:id="rId29"/>
    <p:sldLayoutId id="2147483965" r:id="rId30"/>
    <p:sldLayoutId id="2147483966" r:id="rId31"/>
    <p:sldLayoutId id="2147483967" r:id="rId32"/>
    <p:sldLayoutId id="2147483968" r:id="rId33"/>
    <p:sldLayoutId id="2147483969" r:id="rId34"/>
    <p:sldLayoutId id="2147483970" r:id="rId35"/>
    <p:sldLayoutId id="2147483971" r:id="rId36"/>
    <p:sldLayoutId id="2147483972" r:id="rId37"/>
    <p:sldLayoutId id="2147483973" r:id="rId38"/>
    <p:sldLayoutId id="2147483974" r:id="rId39"/>
    <p:sldLayoutId id="2147483975" r:id="rId40"/>
    <p:sldLayoutId id="2147483976" r:id="rId41"/>
    <p:sldLayoutId id="2147483977" r:id="rId42"/>
    <p:sldLayoutId id="2147483978" r:id="rId43"/>
    <p:sldLayoutId id="2147483979" r:id="rId44"/>
    <p:sldLayoutId id="2147483980" r:id="rId45"/>
    <p:sldLayoutId id="2147483981" r:id="rId46"/>
    <p:sldLayoutId id="2147483982" r:id="rId47"/>
    <p:sldLayoutId id="2147483983" r:id="rId48"/>
    <p:sldLayoutId id="2147483984" r:id="rId49"/>
    <p:sldLayoutId id="2147483985" r:id="rId50"/>
    <p:sldLayoutId id="2147483986" r:id="rId51"/>
    <p:sldLayoutId id="2147483987" r:id="rId52"/>
    <p:sldLayoutId id="2147483988" r:id="rId53"/>
    <p:sldLayoutId id="2147483989" r:id="rId54"/>
    <p:sldLayoutId id="2147483990" r:id="rId55"/>
    <p:sldLayoutId id="2147483991" r:id="rId56"/>
    <p:sldLayoutId id="2147483992" r:id="rId57"/>
    <p:sldLayoutId id="2147483993" r:id="rId58"/>
    <p:sldLayoutId id="2147483994" r:id="rId59"/>
    <p:sldLayoutId id="2147483995" r:id="rId60"/>
    <p:sldLayoutId id="2147483996" r:id="rId61"/>
    <p:sldLayoutId id="2147483997" r:id="rId62"/>
    <p:sldLayoutId id="2147483998" r:id="rId63"/>
    <p:sldLayoutId id="2147483999" r:id="rId64"/>
    <p:sldLayoutId id="2147484000" r:id="rId65"/>
    <p:sldLayoutId id="2147484001" r:id="rId66"/>
    <p:sldLayoutId id="2147484002" r:id="rId67"/>
    <p:sldLayoutId id="2147484003" r:id="rId68"/>
    <p:sldLayoutId id="2147484004" r:id="rId69"/>
    <p:sldLayoutId id="2147484005" r:id="rId70"/>
    <p:sldLayoutId id="2147484006" r:id="rId71"/>
    <p:sldLayoutId id="2147484007" r:id="rId72"/>
    <p:sldLayoutId id="2147484008" r:id="rId73"/>
    <p:sldLayoutId id="2147484009" r:id="rId74"/>
    <p:sldLayoutId id="2147484010" r:id="rId75"/>
    <p:sldLayoutId id="2147484011" r:id="rId76"/>
    <p:sldLayoutId id="2147484012" r:id="rId77"/>
    <p:sldLayoutId id="2147484013" r:id="rId78"/>
    <p:sldLayoutId id="2147484014" r:id="rId79"/>
    <p:sldLayoutId id="2147484015" r:id="rId80"/>
    <p:sldLayoutId id="2147484016" r:id="rId81"/>
    <p:sldLayoutId id="2147484017" r:id="rId82"/>
    <p:sldLayoutId id="2147484018" r:id="rId83"/>
    <p:sldLayoutId id="2147484019" r:id="rId84"/>
    <p:sldLayoutId id="2147484020" r:id="rId85"/>
    <p:sldLayoutId id="2147484021" r:id="rId86"/>
    <p:sldLayoutId id="2147484022" r:id="rId87"/>
    <p:sldLayoutId id="2147484023" r:id="rId88"/>
    <p:sldLayoutId id="2147484024" r:id="rId89"/>
    <p:sldLayoutId id="2147484025" r:id="rId90"/>
    <p:sldLayoutId id="2147484026" r:id="rId91"/>
    <p:sldLayoutId id="2147484027" r:id="rId92"/>
    <p:sldLayoutId id="2147484028" r:id="rId93"/>
    <p:sldLayoutId id="2147484029" r:id="rId94"/>
    <p:sldLayoutId id="2147484030" r:id="rId95"/>
    <p:sldLayoutId id="2147484031" r:id="rId96"/>
    <p:sldLayoutId id="2147484032" r:id="rId97"/>
    <p:sldLayoutId id="2147484033" r:id="rId98"/>
    <p:sldLayoutId id="2147484034" r:id="rId99"/>
    <p:sldLayoutId id="2147484035" r:id="rId100"/>
    <p:sldLayoutId id="2147484036" r:id="rId101"/>
    <p:sldLayoutId id="2147484037" r:id="rId102"/>
    <p:sldLayoutId id="2147484038" r:id="rId103"/>
    <p:sldLayoutId id="2147484039" r:id="rId104"/>
    <p:sldLayoutId id="2147484040" r:id="rId105"/>
  </p:sldLayoutIdLst>
  <p:transition>
    <p:fade/>
  </p:transition>
  <p:hf hdr="0"/>
  <p:txStyles>
    <p:titleStyle>
      <a:lvl1pPr marL="0" marR="0" lvl="0" indent="0" algn="l" defTabSz="1219261" rtl="0" eaLnBrk="1" fontAlgn="auto" hangingPunct="1">
        <a:lnSpc>
          <a:spcPct val="100000"/>
        </a:lnSpc>
        <a:spcBef>
          <a:spcPts val="0"/>
        </a:spcBef>
        <a:spcAft>
          <a:spcPts val="0"/>
        </a:spcAft>
        <a:buNone/>
        <a:tabLst/>
        <a:defRPr lang="en-US" sz="2601" b="1" i="0" u="none" strike="noStrike" kern="1200" cap="none" spc="0" baseline="0">
          <a:solidFill>
            <a:schemeClr val="tx2"/>
          </a:solidFill>
          <a:uFillTx/>
          <a:latin typeface="+mj-lt"/>
        </a:defRPr>
      </a:lvl1pPr>
    </p:titleStyle>
    <p:bodyStyle>
      <a:lvl1pPr marL="182880" marR="0" lvl="0" indent="-182880" algn="l" defTabSz="1219261" rtl="0" eaLnBrk="1" fontAlgn="auto" hangingPunct="1">
        <a:lnSpc>
          <a:spcPct val="90000"/>
        </a:lnSpc>
        <a:spcBef>
          <a:spcPts val="1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lang="en-US" sz="1600" b="0" i="0" u="none" strike="noStrike" kern="1200" cap="none" spc="0" baseline="0">
          <a:solidFill>
            <a:schemeClr val="tx1"/>
          </a:solidFill>
          <a:uFillTx/>
          <a:latin typeface="+mn-lt"/>
        </a:defRPr>
      </a:lvl1pPr>
      <a:lvl2pPr marL="457200" marR="0" lvl="1" indent="-182880" algn="l" defTabSz="1219261" rtl="0" eaLnBrk="1" fontAlgn="auto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lang="en-US" sz="1400" b="0" i="0" u="none" strike="noStrike" kern="1200" cap="none" spc="0" baseline="0">
          <a:solidFill>
            <a:schemeClr val="tx1"/>
          </a:solidFill>
          <a:uFillTx/>
          <a:latin typeface="+mn-lt"/>
        </a:defRPr>
      </a:lvl2pPr>
      <a:lvl3pPr marL="731520" marR="0" lvl="2" indent="-182880" algn="l" defTabSz="1219261" rtl="0" eaLnBrk="1" fontAlgn="auto" hangingPunct="1">
        <a:lnSpc>
          <a:spcPct val="90000"/>
        </a:lnSpc>
        <a:spcBef>
          <a:spcPts val="900"/>
        </a:spcBef>
        <a:spcAft>
          <a:spcPts val="0"/>
        </a:spcAft>
        <a:buClrTx/>
        <a:buSzPct val="100000"/>
        <a:buFont typeface="Arial"/>
        <a:buChar char="•"/>
        <a:tabLst/>
        <a:defRPr lang="en-US" sz="1200" b="0" i="0" u="none" strike="noStrike" kern="1200" cap="none" spc="0" baseline="0">
          <a:solidFill>
            <a:schemeClr val="tx1"/>
          </a:solidFill>
          <a:uFillTx/>
          <a:latin typeface="+mj-lt"/>
        </a:defRPr>
      </a:lvl3pPr>
      <a:lvl4pPr marL="1005840" marR="0" lvl="3" indent="-182880" algn="l" defTabSz="1219261" rtl="0" eaLnBrk="1" fontAlgn="auto" hangingPunct="1">
        <a:lnSpc>
          <a:spcPct val="90000"/>
        </a:lnSpc>
        <a:spcBef>
          <a:spcPts val="800"/>
        </a:spcBef>
        <a:spcAft>
          <a:spcPts val="0"/>
        </a:spcAft>
        <a:buClrTx/>
        <a:buSzPct val="100000"/>
        <a:buFont typeface="Arial"/>
        <a:buChar char="•"/>
        <a:tabLst/>
        <a:defRPr lang="en-US" sz="1100" b="0" i="0" u="none" strike="noStrike" kern="1200" cap="none" spc="0" baseline="0">
          <a:solidFill>
            <a:schemeClr val="tx1"/>
          </a:solidFill>
          <a:uFillTx/>
          <a:latin typeface="+mj-lt"/>
        </a:defRPr>
      </a:lvl4pPr>
      <a:lvl5pPr marL="1280160" marR="0" lvl="4" indent="-182880" algn="l" defTabSz="1219261" rtl="0" eaLnBrk="1" fontAlgn="auto" hangingPunct="1">
        <a:lnSpc>
          <a:spcPct val="90000"/>
        </a:lnSpc>
        <a:spcBef>
          <a:spcPts val="800"/>
        </a:spcBef>
        <a:spcAft>
          <a:spcPts val="0"/>
        </a:spcAft>
        <a:buClrTx/>
        <a:buSzPct val="100000"/>
        <a:buFont typeface="Arial"/>
        <a:buChar char="•"/>
        <a:tabLst/>
        <a:defRPr lang="en-US" sz="1000" b="0" i="0" u="none" strike="noStrike" kern="1200" cap="none" spc="0" baseline="0">
          <a:solidFill>
            <a:schemeClr val="tx1"/>
          </a:solidFill>
          <a:uFillTx/>
          <a:latin typeface="+mj-lt"/>
        </a:defRPr>
      </a:lvl5pPr>
      <a:lvl8pPr marL="381019" indent="-152408" eaLnBrk="1" hangingPunct="1">
        <a:buFont typeface="Courier New" panose="02070309020205020404" pitchFamily="49" charset="0"/>
        <a:buChar char="­"/>
        <a:defRPr lang="en-US" sz="1600" b="0" i="0" u="none" strike="noStrike" kern="1200" cap="none" spc="0" baseline="0" dirty="0">
          <a:solidFill>
            <a:schemeClr val="tx1"/>
          </a:solidFill>
          <a:uFillTx/>
          <a:latin typeface="+mn-lt"/>
        </a:defRPr>
      </a:lvl8pPr>
    </p:bodyStyle>
    <p:otherStyle/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816">
          <p15:clr>
            <a:srgbClr val="F26B43"/>
          </p15:clr>
        </p15:guide>
        <p15:guide id="5">
          <p15:clr>
            <a:srgbClr val="F26B43"/>
          </p15:clr>
        </p15:guide>
        <p15:guide id="6" pos="384">
          <p15:clr>
            <a:srgbClr val="F26B43"/>
          </p15:clr>
        </p15:guide>
        <p15:guide id="7" pos="7680">
          <p15:clr>
            <a:srgbClr val="F26B43"/>
          </p15:clr>
        </p15:guide>
        <p15:guide id="8" pos="7296">
          <p15:clr>
            <a:srgbClr val="F26B43"/>
          </p15:clr>
        </p15:guide>
        <p15:guide id="10" orient="horz" pos="4320">
          <p15:clr>
            <a:srgbClr val="F26B43"/>
          </p15:clr>
        </p15:guide>
        <p15:guide id="12" orient="horz">
          <p15:clr>
            <a:srgbClr val="F26B43"/>
          </p15:clr>
        </p15:guide>
        <p15:guide id="13" orient="horz" pos="3888">
          <p15:clr>
            <a:srgbClr val="F26B43"/>
          </p15:clr>
        </p15:guide>
        <p15:guide id="14" orient="horz" pos="432">
          <p15:clr>
            <a:srgbClr val="F26B43"/>
          </p15:clr>
        </p15:guide>
        <p15:guide id="15" orient="horz" pos="126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/>
          <p:cNvSpPr txBox="1">
            <a:spLocks noGrp="1"/>
          </p:cNvSpPr>
          <p:nvPr>
            <p:ph type="title"/>
          </p:nvPr>
        </p:nvSpPr>
        <p:spPr>
          <a:xfrm>
            <a:off x="609600" y="202277"/>
            <a:ext cx="10972801" cy="6096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0" rIns="0" bIns="0" anchor="b" anchorCtr="0" compatLnSpc="1"/>
          <a:lstStyle/>
          <a:p>
            <a:pPr lvl="0"/>
            <a:r>
              <a:rPr lang="en-US"/>
              <a:t>Click to edit Master</a:t>
            </a: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AFE95962-57C7-46C8-97ED-C836BD51A2B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4800" y="710141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6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E875750-BA6E-9B41-B63A-49AB992AC3A1}" type="datetimeyyyy">
              <a:rPr lang="en-US" smtClean="0"/>
              <a:t>2025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B2C0F3-96CB-429E-967D-314E4BFE56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2006600"/>
            <a:ext cx="10972801" cy="417068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3FD5B587-7C2E-7E41-B9EC-4AD68ED9EB14}"/>
              </a:ext>
            </a:extLst>
          </p:cNvPr>
          <p:cNvPicPr>
            <a:picLocks noChangeAspect="1"/>
          </p:cNvPicPr>
          <p:nvPr userDrawn="1"/>
        </p:nvPicPr>
        <p:blipFill>
          <a:blip r:embed="rId10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D92AE7F-A0B4-1F9C-38E1-A42D1597584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2">
                    <a:lumMod val="75000"/>
                  </a:schemeClr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C864FA3-727C-C9DF-58C4-A8D392CFCD05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2">
                    <a:lumMod val="75000"/>
                  </a:schemeClr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1196050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7" r:id="rId1"/>
    <p:sldLayoutId id="2147484108" r:id="rId2"/>
    <p:sldLayoutId id="2147484109" r:id="rId3"/>
    <p:sldLayoutId id="2147484110" r:id="rId4"/>
    <p:sldLayoutId id="2147484111" r:id="rId5"/>
    <p:sldLayoutId id="2147484112" r:id="rId6"/>
    <p:sldLayoutId id="2147484113" r:id="rId7"/>
    <p:sldLayoutId id="2147484114" r:id="rId8"/>
    <p:sldLayoutId id="2147484115" r:id="rId9"/>
    <p:sldLayoutId id="2147484116" r:id="rId10"/>
    <p:sldLayoutId id="2147484117" r:id="rId11"/>
    <p:sldLayoutId id="2147484118" r:id="rId12"/>
    <p:sldLayoutId id="2147484119" r:id="rId13"/>
    <p:sldLayoutId id="2147484120" r:id="rId14"/>
    <p:sldLayoutId id="2147484121" r:id="rId15"/>
    <p:sldLayoutId id="2147484122" r:id="rId16"/>
    <p:sldLayoutId id="2147484123" r:id="rId17"/>
    <p:sldLayoutId id="2147484124" r:id="rId18"/>
    <p:sldLayoutId id="2147484125" r:id="rId19"/>
    <p:sldLayoutId id="2147484126" r:id="rId20"/>
    <p:sldLayoutId id="2147484127" r:id="rId21"/>
    <p:sldLayoutId id="2147484128" r:id="rId22"/>
    <p:sldLayoutId id="2147484129" r:id="rId23"/>
    <p:sldLayoutId id="2147484130" r:id="rId24"/>
    <p:sldLayoutId id="2147484131" r:id="rId25"/>
    <p:sldLayoutId id="2147484132" r:id="rId26"/>
    <p:sldLayoutId id="2147484133" r:id="rId27"/>
    <p:sldLayoutId id="2147484134" r:id="rId28"/>
    <p:sldLayoutId id="2147484135" r:id="rId29"/>
    <p:sldLayoutId id="2147484136" r:id="rId30"/>
    <p:sldLayoutId id="2147484137" r:id="rId31"/>
    <p:sldLayoutId id="2147484138" r:id="rId32"/>
    <p:sldLayoutId id="2147484139" r:id="rId33"/>
    <p:sldLayoutId id="2147484140" r:id="rId34"/>
    <p:sldLayoutId id="2147484141" r:id="rId35"/>
    <p:sldLayoutId id="2147484142" r:id="rId36"/>
    <p:sldLayoutId id="2147484143" r:id="rId37"/>
    <p:sldLayoutId id="2147484144" r:id="rId38"/>
    <p:sldLayoutId id="2147484145" r:id="rId39"/>
    <p:sldLayoutId id="2147484146" r:id="rId40"/>
    <p:sldLayoutId id="2147484147" r:id="rId41"/>
    <p:sldLayoutId id="2147484148" r:id="rId42"/>
    <p:sldLayoutId id="2147484149" r:id="rId43"/>
    <p:sldLayoutId id="2147484150" r:id="rId44"/>
    <p:sldLayoutId id="2147484151" r:id="rId45"/>
    <p:sldLayoutId id="2147484152" r:id="rId46"/>
    <p:sldLayoutId id="2147484153" r:id="rId47"/>
    <p:sldLayoutId id="2147484154" r:id="rId48"/>
    <p:sldLayoutId id="2147484155" r:id="rId49"/>
    <p:sldLayoutId id="2147484156" r:id="rId50"/>
    <p:sldLayoutId id="2147484157" r:id="rId51"/>
    <p:sldLayoutId id="2147484158" r:id="rId52"/>
    <p:sldLayoutId id="2147484159" r:id="rId53"/>
    <p:sldLayoutId id="2147484160" r:id="rId54"/>
    <p:sldLayoutId id="2147484161" r:id="rId55"/>
    <p:sldLayoutId id="2147484162" r:id="rId56"/>
    <p:sldLayoutId id="2147484163" r:id="rId57"/>
    <p:sldLayoutId id="2147484164" r:id="rId58"/>
    <p:sldLayoutId id="2147484165" r:id="rId59"/>
    <p:sldLayoutId id="2147484166" r:id="rId60"/>
    <p:sldLayoutId id="2147484167" r:id="rId61"/>
    <p:sldLayoutId id="2147484168" r:id="rId62"/>
    <p:sldLayoutId id="2147484169" r:id="rId63"/>
    <p:sldLayoutId id="2147484170" r:id="rId64"/>
    <p:sldLayoutId id="2147484171" r:id="rId65"/>
    <p:sldLayoutId id="2147484172" r:id="rId66"/>
    <p:sldLayoutId id="2147484173" r:id="rId67"/>
    <p:sldLayoutId id="2147484174" r:id="rId68"/>
    <p:sldLayoutId id="2147484175" r:id="rId69"/>
    <p:sldLayoutId id="2147484176" r:id="rId70"/>
    <p:sldLayoutId id="2147484177" r:id="rId71"/>
    <p:sldLayoutId id="2147484178" r:id="rId72"/>
    <p:sldLayoutId id="2147484179" r:id="rId73"/>
    <p:sldLayoutId id="2147484180" r:id="rId74"/>
    <p:sldLayoutId id="2147484181" r:id="rId75"/>
    <p:sldLayoutId id="2147484182" r:id="rId76"/>
    <p:sldLayoutId id="2147484183" r:id="rId77"/>
    <p:sldLayoutId id="2147484184" r:id="rId78"/>
    <p:sldLayoutId id="2147484185" r:id="rId79"/>
    <p:sldLayoutId id="2147484186" r:id="rId80"/>
    <p:sldLayoutId id="2147484187" r:id="rId81"/>
    <p:sldLayoutId id="2147484188" r:id="rId82"/>
    <p:sldLayoutId id="2147484189" r:id="rId83"/>
    <p:sldLayoutId id="2147484190" r:id="rId84"/>
    <p:sldLayoutId id="2147484191" r:id="rId85"/>
    <p:sldLayoutId id="2147484192" r:id="rId86"/>
    <p:sldLayoutId id="2147484193" r:id="rId87"/>
    <p:sldLayoutId id="2147484194" r:id="rId88"/>
    <p:sldLayoutId id="2147484195" r:id="rId89"/>
    <p:sldLayoutId id="2147484196" r:id="rId90"/>
    <p:sldLayoutId id="2147484197" r:id="rId91"/>
    <p:sldLayoutId id="2147484198" r:id="rId92"/>
    <p:sldLayoutId id="2147484199" r:id="rId93"/>
    <p:sldLayoutId id="2147484200" r:id="rId94"/>
    <p:sldLayoutId id="2147484201" r:id="rId95"/>
    <p:sldLayoutId id="2147484202" r:id="rId96"/>
    <p:sldLayoutId id="2147484203" r:id="rId97"/>
    <p:sldLayoutId id="2147484204" r:id="rId98"/>
    <p:sldLayoutId id="2147484205" r:id="rId99"/>
    <p:sldLayoutId id="2147484206" r:id="rId100"/>
    <p:sldLayoutId id="2147484207" r:id="rId101"/>
    <p:sldLayoutId id="2147484208" r:id="rId102"/>
    <p:sldLayoutId id="2147484209" r:id="rId103"/>
    <p:sldLayoutId id="2147484210" r:id="rId104"/>
    <p:sldLayoutId id="2147484211" r:id="rId105"/>
    <p:sldLayoutId id="2147484213" r:id="rId106"/>
  </p:sldLayoutIdLst>
  <p:transition>
    <p:fade/>
  </p:transition>
  <p:hf hdr="0"/>
  <p:txStyles>
    <p:titleStyle>
      <a:lvl1pPr marL="0" marR="0" lvl="0" indent="0" algn="l" defTabSz="1219261" rtl="0" eaLnBrk="1" fontAlgn="auto" hangingPunct="1">
        <a:lnSpc>
          <a:spcPct val="100000"/>
        </a:lnSpc>
        <a:spcBef>
          <a:spcPts val="0"/>
        </a:spcBef>
        <a:spcAft>
          <a:spcPts val="0"/>
        </a:spcAft>
        <a:buNone/>
        <a:tabLst/>
        <a:defRPr lang="en-US" sz="2601" b="1" i="0" u="none" strike="noStrike" kern="1200" cap="none" spc="0" baseline="0">
          <a:solidFill>
            <a:schemeClr val="tx2"/>
          </a:solidFill>
          <a:uFillTx/>
          <a:latin typeface="+mj-lt"/>
        </a:defRPr>
      </a:lvl1pPr>
    </p:titleStyle>
    <p:bodyStyle>
      <a:lvl1pPr marL="182880" marR="0" lvl="0" indent="-182880" algn="l" defTabSz="1219261" rtl="0" eaLnBrk="1" fontAlgn="auto" hangingPunct="1">
        <a:lnSpc>
          <a:spcPct val="90000"/>
        </a:lnSpc>
        <a:spcBef>
          <a:spcPts val="1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lang="en-US" sz="1600" b="0" i="0" u="none" strike="noStrike" kern="1200" cap="none" spc="0" baseline="0">
          <a:solidFill>
            <a:schemeClr val="tx1"/>
          </a:solidFill>
          <a:uFillTx/>
          <a:latin typeface="+mn-lt"/>
        </a:defRPr>
      </a:lvl1pPr>
      <a:lvl2pPr marL="457200" marR="0" lvl="1" indent="-182880" algn="l" defTabSz="1219261" rtl="0" eaLnBrk="1" fontAlgn="auto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lang="en-US" sz="1400" b="0" i="0" u="none" strike="noStrike" kern="1200" cap="none" spc="0" baseline="0">
          <a:solidFill>
            <a:schemeClr val="tx1"/>
          </a:solidFill>
          <a:uFillTx/>
          <a:latin typeface="+mn-lt"/>
        </a:defRPr>
      </a:lvl2pPr>
      <a:lvl3pPr marL="731520" marR="0" lvl="2" indent="-182880" algn="l" defTabSz="1219261" rtl="0" eaLnBrk="1" fontAlgn="auto" hangingPunct="1">
        <a:lnSpc>
          <a:spcPct val="90000"/>
        </a:lnSpc>
        <a:spcBef>
          <a:spcPts val="900"/>
        </a:spcBef>
        <a:spcAft>
          <a:spcPts val="0"/>
        </a:spcAft>
        <a:buClrTx/>
        <a:buSzPct val="100000"/>
        <a:buFont typeface="Arial"/>
        <a:buChar char="•"/>
        <a:tabLst/>
        <a:defRPr lang="en-US" sz="1200" b="0" i="0" u="none" strike="noStrike" kern="1200" cap="none" spc="0" baseline="0">
          <a:solidFill>
            <a:schemeClr val="tx1"/>
          </a:solidFill>
          <a:uFillTx/>
          <a:latin typeface="+mj-lt"/>
        </a:defRPr>
      </a:lvl3pPr>
      <a:lvl4pPr marL="1005840" marR="0" lvl="3" indent="-182880" algn="l" defTabSz="1219261" rtl="0" eaLnBrk="1" fontAlgn="auto" hangingPunct="1">
        <a:lnSpc>
          <a:spcPct val="90000"/>
        </a:lnSpc>
        <a:spcBef>
          <a:spcPts val="800"/>
        </a:spcBef>
        <a:spcAft>
          <a:spcPts val="0"/>
        </a:spcAft>
        <a:buClrTx/>
        <a:buSzPct val="100000"/>
        <a:buFont typeface="Arial"/>
        <a:buChar char="•"/>
        <a:tabLst/>
        <a:defRPr lang="en-US" sz="1100" b="0" i="0" u="none" strike="noStrike" kern="1200" cap="none" spc="0" baseline="0">
          <a:solidFill>
            <a:schemeClr val="tx1"/>
          </a:solidFill>
          <a:uFillTx/>
          <a:latin typeface="+mj-lt"/>
        </a:defRPr>
      </a:lvl4pPr>
      <a:lvl5pPr marL="1280160" marR="0" lvl="4" indent="-182880" algn="l" defTabSz="1219261" rtl="0" eaLnBrk="1" fontAlgn="auto" hangingPunct="1">
        <a:lnSpc>
          <a:spcPct val="90000"/>
        </a:lnSpc>
        <a:spcBef>
          <a:spcPts val="800"/>
        </a:spcBef>
        <a:spcAft>
          <a:spcPts val="0"/>
        </a:spcAft>
        <a:buClrTx/>
        <a:buSzPct val="100000"/>
        <a:buFont typeface="Arial"/>
        <a:buChar char="•"/>
        <a:tabLst/>
        <a:defRPr lang="en-US" sz="1000" b="0" i="0" u="none" strike="noStrike" kern="1200" cap="none" spc="0" baseline="0">
          <a:solidFill>
            <a:schemeClr val="tx1"/>
          </a:solidFill>
          <a:uFillTx/>
          <a:latin typeface="+mj-lt"/>
        </a:defRPr>
      </a:lvl5pPr>
      <a:lvl8pPr marL="381019" indent="-152408" eaLnBrk="1" hangingPunct="1">
        <a:buFont typeface="Courier New" panose="02070309020205020404" pitchFamily="49" charset="0"/>
        <a:buChar char="­"/>
        <a:defRPr lang="en-US" sz="1600" b="0" i="0" u="none" strike="noStrike" kern="1200" cap="none" spc="0" baseline="0" dirty="0">
          <a:solidFill>
            <a:schemeClr val="tx1"/>
          </a:solidFill>
          <a:uFillTx/>
          <a:latin typeface="+mn-lt"/>
        </a:defRPr>
      </a:lvl8pPr>
    </p:bodyStyle>
    <p:otherStyle/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816">
          <p15:clr>
            <a:srgbClr val="F26B43"/>
          </p15:clr>
        </p15:guide>
        <p15:guide id="5">
          <p15:clr>
            <a:srgbClr val="F26B43"/>
          </p15:clr>
        </p15:guide>
        <p15:guide id="6" pos="384">
          <p15:clr>
            <a:srgbClr val="F26B43"/>
          </p15:clr>
        </p15:guide>
        <p15:guide id="7" pos="7680">
          <p15:clr>
            <a:srgbClr val="F26B43"/>
          </p15:clr>
        </p15:guide>
        <p15:guide id="8" pos="7296">
          <p15:clr>
            <a:srgbClr val="F26B43"/>
          </p15:clr>
        </p15:guide>
        <p15:guide id="10" orient="horz" pos="4320">
          <p15:clr>
            <a:srgbClr val="F26B43"/>
          </p15:clr>
        </p15:guide>
        <p15:guide id="12" orient="horz">
          <p15:clr>
            <a:srgbClr val="F26B43"/>
          </p15:clr>
        </p15:guide>
        <p15:guide id="13" orient="horz" pos="3888">
          <p15:clr>
            <a:srgbClr val="F26B43"/>
          </p15:clr>
        </p15:guide>
        <p15:guide id="14" orient="horz" pos="432">
          <p15:clr>
            <a:srgbClr val="F26B43"/>
          </p15:clr>
        </p15:guide>
        <p15:guide id="15" orient="horz" pos="12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6.png"/><Relationship Id="rId4" Type="http://schemas.openxmlformats.org/officeDocument/2006/relationships/image" Target="../media/image29.sv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assgeneral.org/neurology/als/research/first-platform-trial-treatments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7" Type="http://schemas.openxmlformats.org/officeDocument/2006/relationships/image" Target="../media/image39.sv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4.xml"/><Relationship Id="rId6" Type="http://schemas.openxmlformats.org/officeDocument/2006/relationships/image" Target="../media/image38.png"/><Relationship Id="rId5" Type="http://schemas.openxmlformats.org/officeDocument/2006/relationships/image" Target="../media/image37.svg"/><Relationship Id="rId4" Type="http://schemas.openxmlformats.org/officeDocument/2006/relationships/image" Target="../media/image3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7" Type="http://schemas.openxmlformats.org/officeDocument/2006/relationships/image" Target="../media/image43.sv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4.xml"/><Relationship Id="rId6" Type="http://schemas.openxmlformats.org/officeDocument/2006/relationships/image" Target="../media/image42.png"/><Relationship Id="rId5" Type="http://schemas.openxmlformats.org/officeDocument/2006/relationships/image" Target="../media/image41.svg"/><Relationship Id="rId4" Type="http://schemas.openxmlformats.org/officeDocument/2006/relationships/image" Target="../media/image40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45.png"/><Relationship Id="rId2" Type="http://schemas.openxmlformats.org/officeDocument/2006/relationships/slideLayout" Target="../slideLayouts/slideLayout106.xml"/><Relationship Id="rId1" Type="http://schemas.openxmlformats.org/officeDocument/2006/relationships/tags" Target="../tags/tag1.xml"/><Relationship Id="rId6" Type="http://schemas.openxmlformats.org/officeDocument/2006/relationships/image" Target="../media/image35.png"/><Relationship Id="rId5" Type="http://schemas.openxmlformats.org/officeDocument/2006/relationships/image" Target="../media/image44.emf"/><Relationship Id="rId4" Type="http://schemas.openxmlformats.org/officeDocument/2006/relationships/oleObject" Target="../embeddings/oleObject1.bin"/><Relationship Id="rId9" Type="http://schemas.openxmlformats.org/officeDocument/2006/relationships/image" Target="../media/image47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732657E-A54D-8583-44B9-03A9C405A6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939" y="4343370"/>
            <a:ext cx="7261155" cy="1219200"/>
          </a:xfrm>
        </p:spPr>
        <p:txBody>
          <a:bodyPr/>
          <a:lstStyle/>
          <a:p>
            <a:r>
              <a:rPr lang="en-US"/>
              <a:t>Market Access Strategy and Forecast</a:t>
            </a:r>
            <a:br>
              <a:rPr lang="en-US"/>
            </a:br>
            <a:r>
              <a:rPr lang="en-US"/>
              <a:t>Weekly Check-In</a:t>
            </a:r>
            <a:endParaRPr lang="en-US" b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12ECABB-BC22-1BD1-04C7-D6144F6A085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November 10</a:t>
            </a:r>
            <a:r>
              <a:rPr lang="en-US" baseline="30000"/>
              <a:t>th</a:t>
            </a:r>
            <a:r>
              <a:rPr lang="en-US"/>
              <a:t>,</a:t>
            </a:r>
            <a:r>
              <a:rPr lang="zh-CN" altLang="en-US"/>
              <a:t> </a:t>
            </a:r>
            <a:r>
              <a:rPr lang="en-US"/>
              <a:t>2025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20C2D55-797F-0742-F3D4-3585FB2365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37265" y="1211600"/>
            <a:ext cx="3085475" cy="1615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3231807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7BC7DF-4C36-9DEB-4A18-04CC2526FA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202A597-4F8C-E1BE-8C69-28C88815DC6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Next Step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1CE0682-C968-2C71-5A85-59727CFCE1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4291944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5482619-04A4-4F98-A23B-E70B6AEA5F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ext Steps</a:t>
            </a:r>
            <a:br>
              <a:rPr lang="en-US" b="0"/>
            </a:br>
            <a:endParaRPr lang="en-US" b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FC340B-0A9F-7807-B363-950EEAF307A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2471130"/>
            <a:ext cx="5325533" cy="3777270"/>
          </a:xfrm>
        </p:spPr>
        <p:txBody>
          <a:bodyPr/>
          <a:lstStyle/>
          <a:p>
            <a:r>
              <a:rPr lang="en-US"/>
              <a:t>Provide TPP inputs including quantitative efficacy &amp; safety</a:t>
            </a:r>
          </a:p>
          <a:p>
            <a:r>
              <a:rPr lang="en-US"/>
              <a:t>Review PMR Interview screeners and provide feedback</a:t>
            </a:r>
          </a:p>
          <a:p>
            <a:r>
              <a:rPr lang="en-US"/>
              <a:t>Provide patient contact information and HCP/KOL lists</a:t>
            </a:r>
          </a:p>
          <a:p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F2117D0-3B6E-250D-B8A7-DADA799040C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2471129"/>
            <a:ext cx="5325533" cy="3777270"/>
          </a:xfrm>
        </p:spPr>
        <p:txBody>
          <a:bodyPr/>
          <a:lstStyle/>
          <a:p>
            <a:pPr marL="341313" lvl="0" indent="-230188">
              <a:spcBef>
                <a:spcPts val="1200"/>
              </a:spcBef>
              <a:spcAft>
                <a:spcPts val="1200"/>
              </a:spcAft>
              <a:defRPr/>
            </a:pPr>
            <a:r>
              <a:rPr lang="en-US" kern="0">
                <a:solidFill>
                  <a:srgbClr val="3F4344"/>
                </a:solidFill>
              </a:rPr>
              <a:t>Continue progressing secondary research</a:t>
            </a:r>
          </a:p>
          <a:p>
            <a:pPr marL="341313" lvl="0" indent="-230188">
              <a:spcBef>
                <a:spcPts val="1200"/>
              </a:spcBef>
              <a:spcAft>
                <a:spcPts val="1200"/>
              </a:spcAft>
              <a:defRPr/>
            </a:pPr>
            <a:r>
              <a:rPr lang="en-US" kern="0">
                <a:solidFill>
                  <a:srgbClr val="3F4344"/>
                </a:solidFill>
              </a:rPr>
              <a:t>Continue progressing discussion guideline and interview stimuli</a:t>
            </a:r>
          </a:p>
          <a:p>
            <a:pPr marL="341313" indent="-230188">
              <a:spcAft>
                <a:spcPts val="1200"/>
              </a:spcAft>
            </a:pPr>
            <a:r>
              <a:rPr lang="en-US" kern="0">
                <a:solidFill>
                  <a:srgbClr val="3F4344"/>
                </a:solidFill>
              </a:rPr>
              <a:t>Continue progressing survey questionnaire</a:t>
            </a:r>
          </a:p>
          <a:p>
            <a:endParaRPr lang="en-US"/>
          </a:p>
        </p:txBody>
      </p:sp>
      <p:pic>
        <p:nvPicPr>
          <p:cNvPr id="9" name="Picture 22">
            <a:extLst>
              <a:ext uri="{FF2B5EF4-FFF2-40B4-BE49-F238E27FC236}">
                <a16:creationId xmlns:a16="http://schemas.microsoft.com/office/drawing/2014/main" id="{6BD9CF00-1D5B-86F1-73DF-A1F24FCD66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7155535" y="1450062"/>
            <a:ext cx="2801091" cy="569919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FF3BC26-A7D6-59F4-2850-42010C0C4122}"/>
              </a:ext>
            </a:extLst>
          </p:cNvPr>
          <p:cNvCxnSpPr>
            <a:cxnSpLocks/>
          </p:cNvCxnSpPr>
          <p:nvPr/>
        </p:nvCxnSpPr>
        <p:spPr>
          <a:xfrm>
            <a:off x="738554" y="2266756"/>
            <a:ext cx="5011615" cy="0"/>
          </a:xfrm>
          <a:prstGeom prst="line">
            <a:avLst/>
          </a:prstGeom>
          <a:ln w="28575" cap="rnd">
            <a:solidFill>
              <a:schemeClr val="accent1"/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CCA63D0-31BD-570F-11F0-9BF940B4AEAA}"/>
              </a:ext>
            </a:extLst>
          </p:cNvPr>
          <p:cNvCxnSpPr>
            <a:cxnSpLocks/>
          </p:cNvCxnSpPr>
          <p:nvPr/>
        </p:nvCxnSpPr>
        <p:spPr>
          <a:xfrm>
            <a:off x="6400800" y="2266756"/>
            <a:ext cx="4695092" cy="0"/>
          </a:xfrm>
          <a:prstGeom prst="line">
            <a:avLst/>
          </a:prstGeom>
          <a:ln w="28575" cap="rnd">
            <a:solidFill>
              <a:schemeClr val="accent5"/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0101B1D6-E90E-AA56-EAD8-5DE28866F696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20648" b="18173"/>
          <a:stretch/>
        </p:blipFill>
        <p:spPr>
          <a:xfrm>
            <a:off x="1518210" y="1295061"/>
            <a:ext cx="2747345" cy="879921"/>
          </a:xfrm>
          <a:prstGeom prst="rect">
            <a:avLst/>
          </a:prstGeom>
        </p:spPr>
      </p:pic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A613D518-1C8D-A9D5-B014-9DE363942FA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8282613"/>
              </p:ext>
            </p:extLst>
          </p:nvPr>
        </p:nvGraphicFramePr>
        <p:xfrm>
          <a:off x="767309" y="4367022"/>
          <a:ext cx="10357337" cy="18983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357337">
                  <a:extLst>
                    <a:ext uri="{9D8B030D-6E8A-4147-A177-3AD203B41FA5}">
                      <a16:colId xmlns:a16="http://schemas.microsoft.com/office/drawing/2014/main" val="864881612"/>
                    </a:ext>
                  </a:extLst>
                </a:gridCol>
              </a:tblGrid>
              <a:tr h="474585">
                <a:tc>
                  <a:txBody>
                    <a:bodyPr/>
                    <a:lstStyle/>
                    <a:p>
                      <a:r>
                        <a:rPr lang="en-US" sz="1600"/>
                        <a:t>F</a:t>
                      </a:r>
                      <a:r>
                        <a:rPr lang="en-US" altLang="zh-CN" sz="1600"/>
                        <a:t>iles Received</a:t>
                      </a:r>
                      <a:endParaRPr lang="en-US" sz="160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48798401"/>
                  </a:ext>
                </a:extLst>
              </a:tr>
              <a:tr h="474585">
                <a:tc>
                  <a:txBody>
                    <a:bodyPr/>
                    <a:lstStyle/>
                    <a:p>
                      <a:r>
                        <a:rPr lang="en-US" sz="1200"/>
                        <a:t>REDACTED_250716_Reg-Meeting_V0.1.pptx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7640985"/>
                  </a:ext>
                </a:extLst>
              </a:tr>
              <a:tr h="474585">
                <a:tc>
                  <a:txBody>
                    <a:bodyPr/>
                    <a:lstStyle/>
                    <a:p>
                      <a:r>
                        <a:rPr lang="en-US" sz="1200"/>
                        <a:t>EVERSANA_NUZ001 10-year Revenue Forecast Model 2025 Feb 16.xlsx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914347"/>
                  </a:ext>
                </a:extLst>
              </a:tr>
              <a:tr h="474584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200" b="0" i="0" u="none" strike="noStrike" baseline="0" noProof="0">
                          <a:solidFill>
                            <a:srgbClr val="3F4344"/>
                          </a:solidFill>
                          <a:latin typeface="Arial"/>
                        </a:rPr>
                        <a:t>Expanded_KOL_HEALEY_table.xlsx</a:t>
                      </a:r>
                      <a:endParaRPr lang="en-US"/>
                    </a:p>
                  </a:txBody>
                  <a:tcPr anchor="ctr">
                    <a:lnL w="9524">
                      <a:solidFill>
                        <a:schemeClr val="bg1">
                          <a:lumMod val="65000"/>
                        </a:schemeClr>
                      </a:solidFill>
                    </a:lnL>
                    <a:lnR w="9524">
                      <a:solidFill>
                        <a:schemeClr val="bg1">
                          <a:lumMod val="65000"/>
                        </a:schemeClr>
                      </a:solidFill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4">
                      <a:solidFill>
                        <a:schemeClr val="bg1">
                          <a:lumMod val="6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977047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74086155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4391255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F66E61-6164-47D4-8C98-806B6D5B2E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ject Discussion</a:t>
            </a:r>
            <a:br>
              <a:rPr lang="en-US"/>
            </a:br>
            <a:r>
              <a:rPr lang="en-US" b="0"/>
              <a:t>Primary Market Research Interview Materials</a:t>
            </a:r>
            <a:br>
              <a:rPr lang="en-US"/>
            </a:b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D4DBCF0-E2C0-469E-9696-73AE1D3B65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EVERSANA will leverage research materials for the primary research. These materials will be reviewed and revised in coordination with the </a:t>
            </a:r>
            <a:r>
              <a:rPr lang="en-US" err="1"/>
              <a:t>Neurizon</a:t>
            </a:r>
            <a:r>
              <a:rPr lang="en-US"/>
              <a:t> team.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E00D5E10-429E-13F2-AE51-1C5DFDD2B8D3}"/>
              </a:ext>
            </a:extLst>
          </p:cNvPr>
          <p:cNvCxnSpPr>
            <a:cxnSpLocks/>
          </p:cNvCxnSpPr>
          <p:nvPr/>
        </p:nvCxnSpPr>
        <p:spPr>
          <a:xfrm>
            <a:off x="533400" y="3905250"/>
            <a:ext cx="11115675" cy="0"/>
          </a:xfrm>
          <a:prstGeom prst="line">
            <a:avLst/>
          </a:prstGeom>
          <a:ln w="38100" cap="rnd">
            <a:solidFill>
              <a:schemeClr val="tx2"/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5" name="Picture 34">
            <a:extLst>
              <a:ext uri="{FF2B5EF4-FFF2-40B4-BE49-F238E27FC236}">
                <a16:creationId xmlns:a16="http://schemas.microsoft.com/office/drawing/2014/main" id="{541052ED-5F15-0CEA-9680-67C52C5B183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44676" y="1913940"/>
            <a:ext cx="2278644" cy="1281737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51" name="Group 50">
            <a:extLst>
              <a:ext uri="{FF2B5EF4-FFF2-40B4-BE49-F238E27FC236}">
                <a16:creationId xmlns:a16="http://schemas.microsoft.com/office/drawing/2014/main" id="{DBDD26A3-1B12-8217-232B-85554FD36CEE}"/>
              </a:ext>
            </a:extLst>
          </p:cNvPr>
          <p:cNvGrpSpPr/>
          <p:nvPr/>
        </p:nvGrpSpPr>
        <p:grpSpPr>
          <a:xfrm>
            <a:off x="6678348" y="1705660"/>
            <a:ext cx="1589352" cy="1717934"/>
            <a:chOff x="6581484" y="1600960"/>
            <a:chExt cx="1783080" cy="1927333"/>
          </a:xfrm>
        </p:grpSpPr>
        <p:pic>
          <p:nvPicPr>
            <p:cNvPr id="44" name="Picture 43">
              <a:extLst>
                <a:ext uri="{FF2B5EF4-FFF2-40B4-BE49-F238E27FC236}">
                  <a16:creationId xmlns:a16="http://schemas.microsoft.com/office/drawing/2014/main" id="{E60F3842-4B07-4671-3BD1-6790031D2F6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581484" y="1600960"/>
              <a:ext cx="1188720" cy="1543562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452F5543-7DC7-233C-3D94-574371B3072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878664" y="1788182"/>
              <a:ext cx="1188720" cy="1546075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6DBFF60D-124B-AD19-7295-3709226A841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175844" y="1977917"/>
              <a:ext cx="1188720" cy="1550376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54" name="Graphic 7">
            <a:extLst>
              <a:ext uri="{FF2B5EF4-FFF2-40B4-BE49-F238E27FC236}">
                <a16:creationId xmlns:a16="http://schemas.microsoft.com/office/drawing/2014/main" id="{742491B9-EF54-C0D9-8968-573A38694A99}"/>
              </a:ext>
            </a:extLst>
          </p:cNvPr>
          <p:cNvSpPr>
            <a:spLocks noChangeAspect="1"/>
          </p:cNvSpPr>
          <p:nvPr/>
        </p:nvSpPr>
        <p:spPr>
          <a:xfrm>
            <a:off x="1131590" y="2278632"/>
            <a:ext cx="472158" cy="700708"/>
          </a:xfrm>
          <a:custGeom>
            <a:avLst/>
            <a:gdLst>
              <a:gd name="connsiteX0" fmla="*/ 434253 w 443626"/>
              <a:gd name="connsiteY0" fmla="*/ 499753 h 658368"/>
              <a:gd name="connsiteX1" fmla="*/ 443897 w 443626"/>
              <a:gd name="connsiteY1" fmla="*/ 490109 h 658368"/>
              <a:gd name="connsiteX2" fmla="*/ 443897 w 443626"/>
              <a:gd name="connsiteY2" fmla="*/ 432972 h 658368"/>
              <a:gd name="connsiteX3" fmla="*/ 392994 w 443626"/>
              <a:gd name="connsiteY3" fmla="*/ 354368 h 658368"/>
              <a:gd name="connsiteX4" fmla="*/ 392814 w 443626"/>
              <a:gd name="connsiteY4" fmla="*/ 354293 h 658368"/>
              <a:gd name="connsiteX5" fmla="*/ 279617 w 443626"/>
              <a:gd name="connsiteY5" fmla="*/ 310458 h 658368"/>
              <a:gd name="connsiteX6" fmla="*/ 279115 w 443626"/>
              <a:gd name="connsiteY6" fmla="*/ 310226 h 658368"/>
              <a:gd name="connsiteX7" fmla="*/ 277513 w 443626"/>
              <a:gd name="connsiteY7" fmla="*/ 307736 h 658368"/>
              <a:gd name="connsiteX8" fmla="*/ 277513 w 443626"/>
              <a:gd name="connsiteY8" fmla="*/ 304898 h 658368"/>
              <a:gd name="connsiteX9" fmla="*/ 319393 w 443626"/>
              <a:gd name="connsiteY9" fmla="*/ 304898 h 658368"/>
              <a:gd name="connsiteX10" fmla="*/ 343920 w 443626"/>
              <a:gd name="connsiteY10" fmla="*/ 280371 h 658368"/>
              <a:gd name="connsiteX11" fmla="*/ 343920 w 443626"/>
              <a:gd name="connsiteY11" fmla="*/ 209316 h 658368"/>
              <a:gd name="connsiteX12" fmla="*/ 343920 w 443626"/>
              <a:gd name="connsiteY12" fmla="*/ 162773 h 658368"/>
              <a:gd name="connsiteX13" fmla="*/ 343920 w 443626"/>
              <a:gd name="connsiteY13" fmla="*/ 122032 h 658368"/>
              <a:gd name="connsiteX14" fmla="*/ 222014 w 443626"/>
              <a:gd name="connsiteY14" fmla="*/ 130 h 658368"/>
              <a:gd name="connsiteX15" fmla="*/ 100117 w 443626"/>
              <a:gd name="connsiteY15" fmla="*/ 122032 h 658368"/>
              <a:gd name="connsiteX16" fmla="*/ 100117 w 443626"/>
              <a:gd name="connsiteY16" fmla="*/ 280371 h 658368"/>
              <a:gd name="connsiteX17" fmla="*/ 124644 w 443626"/>
              <a:gd name="connsiteY17" fmla="*/ 304898 h 658368"/>
              <a:gd name="connsiteX18" fmla="*/ 166395 w 443626"/>
              <a:gd name="connsiteY18" fmla="*/ 304898 h 658368"/>
              <a:gd name="connsiteX19" fmla="*/ 166395 w 443626"/>
              <a:gd name="connsiteY19" fmla="*/ 307741 h 658368"/>
              <a:gd name="connsiteX20" fmla="*/ 164617 w 443626"/>
              <a:gd name="connsiteY20" fmla="*/ 310332 h 658368"/>
              <a:gd name="connsiteX21" fmla="*/ 51213 w 443626"/>
              <a:gd name="connsiteY21" fmla="*/ 354299 h 658368"/>
              <a:gd name="connsiteX22" fmla="*/ 51032 w 443626"/>
              <a:gd name="connsiteY22" fmla="*/ 354368 h 658368"/>
              <a:gd name="connsiteX23" fmla="*/ 130 w 443626"/>
              <a:gd name="connsiteY23" fmla="*/ 432972 h 658368"/>
              <a:gd name="connsiteX24" fmla="*/ 130 w 443626"/>
              <a:gd name="connsiteY24" fmla="*/ 633885 h 658368"/>
              <a:gd name="connsiteX25" fmla="*/ 24747 w 443626"/>
              <a:gd name="connsiteY25" fmla="*/ 658498 h 658368"/>
              <a:gd name="connsiteX26" fmla="*/ 199511 w 443626"/>
              <a:gd name="connsiteY26" fmla="*/ 658498 h 658368"/>
              <a:gd name="connsiteX27" fmla="*/ 209155 w 443626"/>
              <a:gd name="connsiteY27" fmla="*/ 648854 h 658368"/>
              <a:gd name="connsiteX28" fmla="*/ 199511 w 443626"/>
              <a:gd name="connsiteY28" fmla="*/ 639210 h 658368"/>
              <a:gd name="connsiteX29" fmla="*/ 177365 w 443626"/>
              <a:gd name="connsiteY29" fmla="*/ 639210 h 658368"/>
              <a:gd name="connsiteX30" fmla="*/ 177365 w 443626"/>
              <a:gd name="connsiteY30" fmla="*/ 372235 h 658368"/>
              <a:gd name="connsiteX31" fmla="*/ 265634 w 443626"/>
              <a:gd name="connsiteY31" fmla="*/ 372230 h 658368"/>
              <a:gd name="connsiteX32" fmla="*/ 265634 w 443626"/>
              <a:gd name="connsiteY32" fmla="*/ 639210 h 658368"/>
              <a:gd name="connsiteX33" fmla="*/ 244522 w 443626"/>
              <a:gd name="connsiteY33" fmla="*/ 639210 h 658368"/>
              <a:gd name="connsiteX34" fmla="*/ 234873 w 443626"/>
              <a:gd name="connsiteY34" fmla="*/ 648854 h 658368"/>
              <a:gd name="connsiteX35" fmla="*/ 244522 w 443626"/>
              <a:gd name="connsiteY35" fmla="*/ 658498 h 658368"/>
              <a:gd name="connsiteX36" fmla="*/ 419285 w 443626"/>
              <a:gd name="connsiteY36" fmla="*/ 658498 h 658368"/>
              <a:gd name="connsiteX37" fmla="*/ 443897 w 443626"/>
              <a:gd name="connsiteY37" fmla="*/ 633885 h 658368"/>
              <a:gd name="connsiteX38" fmla="*/ 443897 w 443626"/>
              <a:gd name="connsiteY38" fmla="*/ 535114 h 658368"/>
              <a:gd name="connsiteX39" fmla="*/ 434253 w 443626"/>
              <a:gd name="connsiteY39" fmla="*/ 525470 h 658368"/>
              <a:gd name="connsiteX40" fmla="*/ 424609 w 443626"/>
              <a:gd name="connsiteY40" fmla="*/ 535114 h 658368"/>
              <a:gd name="connsiteX41" fmla="*/ 424609 w 443626"/>
              <a:gd name="connsiteY41" fmla="*/ 633885 h 658368"/>
              <a:gd name="connsiteX42" fmla="*/ 419285 w 443626"/>
              <a:gd name="connsiteY42" fmla="*/ 639210 h 658368"/>
              <a:gd name="connsiteX43" fmla="*/ 382923 w 443626"/>
              <a:gd name="connsiteY43" fmla="*/ 639210 h 658368"/>
              <a:gd name="connsiteX44" fmla="*/ 382923 w 443626"/>
              <a:gd name="connsiteY44" fmla="*/ 465160 h 658368"/>
              <a:gd name="connsiteX45" fmla="*/ 373279 w 443626"/>
              <a:gd name="connsiteY45" fmla="*/ 455511 h 658368"/>
              <a:gd name="connsiteX46" fmla="*/ 363635 w 443626"/>
              <a:gd name="connsiteY46" fmla="*/ 465160 h 658368"/>
              <a:gd name="connsiteX47" fmla="*/ 363635 w 443626"/>
              <a:gd name="connsiteY47" fmla="*/ 639210 h 658368"/>
              <a:gd name="connsiteX48" fmla="*/ 284922 w 443626"/>
              <a:gd name="connsiteY48" fmla="*/ 639210 h 658368"/>
              <a:gd name="connsiteX49" fmla="*/ 284922 w 443626"/>
              <a:gd name="connsiteY49" fmla="*/ 631450 h 658368"/>
              <a:gd name="connsiteX50" fmla="*/ 293294 w 443626"/>
              <a:gd name="connsiteY50" fmla="*/ 632670 h 658368"/>
              <a:gd name="connsiteX51" fmla="*/ 302938 w 443626"/>
              <a:gd name="connsiteY51" fmla="*/ 623026 h 658368"/>
              <a:gd name="connsiteX52" fmla="*/ 293294 w 443626"/>
              <a:gd name="connsiteY52" fmla="*/ 613382 h 658368"/>
              <a:gd name="connsiteX53" fmla="*/ 284922 w 443626"/>
              <a:gd name="connsiteY53" fmla="*/ 606767 h 658368"/>
              <a:gd name="connsiteX54" fmla="*/ 284922 w 443626"/>
              <a:gd name="connsiteY54" fmla="*/ 535526 h 658368"/>
              <a:gd name="connsiteX55" fmla="*/ 293294 w 443626"/>
              <a:gd name="connsiteY55" fmla="*/ 528911 h 658368"/>
              <a:gd name="connsiteX56" fmla="*/ 321950 w 443626"/>
              <a:gd name="connsiteY56" fmla="*/ 528911 h 658368"/>
              <a:gd name="connsiteX57" fmla="*/ 330323 w 443626"/>
              <a:gd name="connsiteY57" fmla="*/ 535526 h 658368"/>
              <a:gd name="connsiteX58" fmla="*/ 330323 w 443626"/>
              <a:gd name="connsiteY58" fmla="*/ 606767 h 658368"/>
              <a:gd name="connsiteX59" fmla="*/ 321950 w 443626"/>
              <a:gd name="connsiteY59" fmla="*/ 613382 h 658368"/>
              <a:gd name="connsiteX60" fmla="*/ 312306 w 443626"/>
              <a:gd name="connsiteY60" fmla="*/ 623026 h 658368"/>
              <a:gd name="connsiteX61" fmla="*/ 321950 w 443626"/>
              <a:gd name="connsiteY61" fmla="*/ 632670 h 658368"/>
              <a:gd name="connsiteX62" fmla="*/ 349612 w 443626"/>
              <a:gd name="connsiteY62" fmla="*/ 606767 h 658368"/>
              <a:gd name="connsiteX63" fmla="*/ 349612 w 443626"/>
              <a:gd name="connsiteY63" fmla="*/ 535526 h 658368"/>
              <a:gd name="connsiteX64" fmla="*/ 321950 w 443626"/>
              <a:gd name="connsiteY64" fmla="*/ 509623 h 658368"/>
              <a:gd name="connsiteX65" fmla="*/ 317269 w 443626"/>
              <a:gd name="connsiteY65" fmla="*/ 509623 h 658368"/>
              <a:gd name="connsiteX66" fmla="*/ 317269 w 443626"/>
              <a:gd name="connsiteY66" fmla="*/ 474779 h 658368"/>
              <a:gd name="connsiteX67" fmla="*/ 335406 w 443626"/>
              <a:gd name="connsiteY67" fmla="*/ 451693 h 658368"/>
              <a:gd name="connsiteX68" fmla="*/ 332122 w 443626"/>
              <a:gd name="connsiteY68" fmla="*/ 426603 h 658368"/>
              <a:gd name="connsiteX69" fmla="*/ 315983 w 443626"/>
              <a:gd name="connsiteY69" fmla="*/ 414263 h 658368"/>
              <a:gd name="connsiteX70" fmla="*/ 345327 w 443626"/>
              <a:gd name="connsiteY70" fmla="*/ 387229 h 658368"/>
              <a:gd name="connsiteX71" fmla="*/ 348236 w 443626"/>
              <a:gd name="connsiteY71" fmla="*/ 364520 h 658368"/>
              <a:gd name="connsiteX72" fmla="*/ 342294 w 443626"/>
              <a:gd name="connsiteY72" fmla="*/ 355419 h 658368"/>
              <a:gd name="connsiteX73" fmla="*/ 364605 w 443626"/>
              <a:gd name="connsiteY73" fmla="*/ 364058 h 658368"/>
              <a:gd name="connsiteX74" fmla="*/ 385711 w 443626"/>
              <a:gd name="connsiteY74" fmla="*/ 372230 h 658368"/>
              <a:gd name="connsiteX75" fmla="*/ 385993 w 443626"/>
              <a:gd name="connsiteY75" fmla="*/ 372356 h 658368"/>
              <a:gd name="connsiteX76" fmla="*/ 424609 w 443626"/>
              <a:gd name="connsiteY76" fmla="*/ 432972 h 658368"/>
              <a:gd name="connsiteX77" fmla="*/ 424609 w 443626"/>
              <a:gd name="connsiteY77" fmla="*/ 490109 h 658368"/>
              <a:gd name="connsiteX78" fmla="*/ 434253 w 443626"/>
              <a:gd name="connsiteY78" fmla="*/ 499753 h 658368"/>
              <a:gd name="connsiteX79" fmla="*/ 158077 w 443626"/>
              <a:gd name="connsiteY79" fmla="*/ 639210 h 658368"/>
              <a:gd name="connsiteX80" fmla="*/ 80397 w 443626"/>
              <a:gd name="connsiteY80" fmla="*/ 639210 h 658368"/>
              <a:gd name="connsiteX81" fmla="*/ 80397 w 443626"/>
              <a:gd name="connsiteY81" fmla="*/ 465160 h 658368"/>
              <a:gd name="connsiteX82" fmla="*/ 70753 w 443626"/>
              <a:gd name="connsiteY82" fmla="*/ 455511 h 658368"/>
              <a:gd name="connsiteX83" fmla="*/ 61109 w 443626"/>
              <a:gd name="connsiteY83" fmla="*/ 465160 h 658368"/>
              <a:gd name="connsiteX84" fmla="*/ 61109 w 443626"/>
              <a:gd name="connsiteY84" fmla="*/ 639210 h 658368"/>
              <a:gd name="connsiteX85" fmla="*/ 24747 w 443626"/>
              <a:gd name="connsiteY85" fmla="*/ 639210 h 658368"/>
              <a:gd name="connsiteX86" fmla="*/ 19423 w 443626"/>
              <a:gd name="connsiteY86" fmla="*/ 633885 h 658368"/>
              <a:gd name="connsiteX87" fmla="*/ 19423 w 443626"/>
              <a:gd name="connsiteY87" fmla="*/ 432972 h 658368"/>
              <a:gd name="connsiteX88" fmla="*/ 58311 w 443626"/>
              <a:gd name="connsiteY88" fmla="*/ 372235 h 658368"/>
              <a:gd name="connsiteX89" fmla="*/ 100368 w 443626"/>
              <a:gd name="connsiteY89" fmla="*/ 355930 h 658368"/>
              <a:gd name="connsiteX90" fmla="*/ 94762 w 443626"/>
              <a:gd name="connsiteY90" fmla="*/ 364520 h 658368"/>
              <a:gd name="connsiteX91" fmla="*/ 97671 w 443626"/>
              <a:gd name="connsiteY91" fmla="*/ 387229 h 658368"/>
              <a:gd name="connsiteX92" fmla="*/ 127015 w 443626"/>
              <a:gd name="connsiteY92" fmla="*/ 414263 h 658368"/>
              <a:gd name="connsiteX93" fmla="*/ 110876 w 443626"/>
              <a:gd name="connsiteY93" fmla="*/ 426603 h 658368"/>
              <a:gd name="connsiteX94" fmla="*/ 107586 w 443626"/>
              <a:gd name="connsiteY94" fmla="*/ 451688 h 658368"/>
              <a:gd name="connsiteX95" fmla="*/ 126764 w 443626"/>
              <a:gd name="connsiteY95" fmla="*/ 476099 h 658368"/>
              <a:gd name="connsiteX96" fmla="*/ 126764 w 443626"/>
              <a:gd name="connsiteY96" fmla="*/ 528604 h 658368"/>
              <a:gd name="connsiteX97" fmla="*/ 105255 w 443626"/>
              <a:gd name="connsiteY97" fmla="*/ 558220 h 658368"/>
              <a:gd name="connsiteX98" fmla="*/ 136407 w 443626"/>
              <a:gd name="connsiteY98" fmla="*/ 589372 h 658368"/>
              <a:gd name="connsiteX99" fmla="*/ 158077 w 443626"/>
              <a:gd name="connsiteY99" fmla="*/ 580571 h 658368"/>
              <a:gd name="connsiteX100" fmla="*/ 136407 w 443626"/>
              <a:gd name="connsiteY100" fmla="*/ 546356 h 658368"/>
              <a:gd name="connsiteX101" fmla="*/ 148272 w 443626"/>
              <a:gd name="connsiteY101" fmla="*/ 558220 h 658368"/>
              <a:gd name="connsiteX102" fmla="*/ 136407 w 443626"/>
              <a:gd name="connsiteY102" fmla="*/ 570084 h 658368"/>
              <a:gd name="connsiteX103" fmla="*/ 124543 w 443626"/>
              <a:gd name="connsiteY103" fmla="*/ 558220 h 658368"/>
              <a:gd name="connsiteX104" fmla="*/ 136407 w 443626"/>
              <a:gd name="connsiteY104" fmla="*/ 546356 h 658368"/>
              <a:gd name="connsiteX105" fmla="*/ 158077 w 443626"/>
              <a:gd name="connsiteY105" fmla="*/ 535868 h 658368"/>
              <a:gd name="connsiteX106" fmla="*/ 146051 w 443626"/>
              <a:gd name="connsiteY106" fmla="*/ 528604 h 658368"/>
              <a:gd name="connsiteX107" fmla="*/ 146051 w 443626"/>
              <a:gd name="connsiteY107" fmla="*/ 500647 h 658368"/>
              <a:gd name="connsiteX108" fmla="*/ 158077 w 443626"/>
              <a:gd name="connsiteY108" fmla="*/ 515947 h 658368"/>
              <a:gd name="connsiteX109" fmla="*/ 158077 w 443626"/>
              <a:gd name="connsiteY109" fmla="*/ 484724 h 658368"/>
              <a:gd name="connsiteX110" fmla="*/ 123750 w 443626"/>
              <a:gd name="connsiteY110" fmla="*/ 441040 h 658368"/>
              <a:gd name="connsiteX111" fmla="*/ 140109 w 443626"/>
              <a:gd name="connsiteY111" fmla="*/ 428527 h 658368"/>
              <a:gd name="connsiteX112" fmla="*/ 141410 w 443626"/>
              <a:gd name="connsiteY112" fmla="*/ 401293 h 658368"/>
              <a:gd name="connsiteX113" fmla="*/ 111675 w 443626"/>
              <a:gd name="connsiteY113" fmla="*/ 373898 h 658368"/>
              <a:gd name="connsiteX114" fmla="*/ 131199 w 443626"/>
              <a:gd name="connsiteY114" fmla="*/ 343976 h 658368"/>
              <a:gd name="connsiteX115" fmla="*/ 158077 w 443626"/>
              <a:gd name="connsiteY115" fmla="*/ 333554 h 658368"/>
              <a:gd name="connsiteX116" fmla="*/ 324632 w 443626"/>
              <a:gd name="connsiteY116" fmla="*/ 280371 h 658368"/>
              <a:gd name="connsiteX117" fmla="*/ 319393 w 443626"/>
              <a:gd name="connsiteY117" fmla="*/ 285610 h 658368"/>
              <a:gd name="connsiteX118" fmla="*/ 278759 w 443626"/>
              <a:gd name="connsiteY118" fmla="*/ 285610 h 658368"/>
              <a:gd name="connsiteX119" fmla="*/ 312281 w 443626"/>
              <a:gd name="connsiteY119" fmla="*/ 226755 h 658368"/>
              <a:gd name="connsiteX120" fmla="*/ 324632 w 443626"/>
              <a:gd name="connsiteY120" fmla="*/ 223711 h 658368"/>
              <a:gd name="connsiteX121" fmla="*/ 332745 w 443626"/>
              <a:gd name="connsiteY121" fmla="*/ 186044 h 658368"/>
              <a:gd name="connsiteX122" fmla="*/ 313080 w 443626"/>
              <a:gd name="connsiteY122" fmla="*/ 207076 h 658368"/>
              <a:gd name="connsiteX123" fmla="*/ 313080 w 443626"/>
              <a:gd name="connsiteY123" fmla="*/ 165014 h 658368"/>
              <a:gd name="connsiteX124" fmla="*/ 332745 w 443626"/>
              <a:gd name="connsiteY124" fmla="*/ 186044 h 658368"/>
              <a:gd name="connsiteX125" fmla="*/ 124644 w 443626"/>
              <a:gd name="connsiteY125" fmla="*/ 285610 h 658368"/>
              <a:gd name="connsiteX126" fmla="*/ 119405 w 443626"/>
              <a:gd name="connsiteY126" fmla="*/ 280371 h 658368"/>
              <a:gd name="connsiteX127" fmla="*/ 119405 w 443626"/>
              <a:gd name="connsiteY127" fmla="*/ 122032 h 658368"/>
              <a:gd name="connsiteX128" fmla="*/ 222019 w 443626"/>
              <a:gd name="connsiteY128" fmla="*/ 19418 h 658368"/>
              <a:gd name="connsiteX129" fmla="*/ 324632 w 443626"/>
              <a:gd name="connsiteY129" fmla="*/ 122032 h 658368"/>
              <a:gd name="connsiteX130" fmla="*/ 324632 w 443626"/>
              <a:gd name="connsiteY130" fmla="*/ 148382 h 658368"/>
              <a:gd name="connsiteX131" fmla="*/ 324513 w 443626"/>
              <a:gd name="connsiteY131" fmla="*/ 148337 h 658368"/>
              <a:gd name="connsiteX132" fmla="*/ 312980 w 443626"/>
              <a:gd name="connsiteY132" fmla="*/ 145418 h 658368"/>
              <a:gd name="connsiteX133" fmla="*/ 300959 w 443626"/>
              <a:gd name="connsiteY133" fmla="*/ 130947 h 658368"/>
              <a:gd name="connsiteX134" fmla="*/ 256647 w 443626"/>
              <a:gd name="connsiteY134" fmla="*/ 102970 h 658368"/>
              <a:gd name="connsiteX135" fmla="*/ 231532 w 443626"/>
              <a:gd name="connsiteY135" fmla="*/ 103603 h 658368"/>
              <a:gd name="connsiteX136" fmla="*/ 142124 w 443626"/>
              <a:gd name="connsiteY136" fmla="*/ 169268 h 658368"/>
              <a:gd name="connsiteX137" fmla="*/ 130957 w 443626"/>
              <a:gd name="connsiteY137" fmla="*/ 185296 h 658368"/>
              <a:gd name="connsiteX138" fmla="*/ 130957 w 443626"/>
              <a:gd name="connsiteY138" fmla="*/ 214997 h 658368"/>
              <a:gd name="connsiteX139" fmla="*/ 165315 w 443626"/>
              <a:gd name="connsiteY139" fmla="*/ 285610 h 658368"/>
              <a:gd name="connsiteX140" fmla="*/ 265634 w 443626"/>
              <a:gd name="connsiteY140" fmla="*/ 346884 h 658368"/>
              <a:gd name="connsiteX141" fmla="*/ 177365 w 443626"/>
              <a:gd name="connsiteY141" fmla="*/ 346905 h 658368"/>
              <a:gd name="connsiteX142" fmla="*/ 177365 w 443626"/>
              <a:gd name="connsiteY142" fmla="*/ 324979 h 658368"/>
              <a:gd name="connsiteX143" fmla="*/ 185683 w 443626"/>
              <a:gd name="connsiteY143" fmla="*/ 307741 h 658368"/>
              <a:gd name="connsiteX144" fmla="*/ 185683 w 443626"/>
              <a:gd name="connsiteY144" fmla="*/ 297523 h 658368"/>
              <a:gd name="connsiteX145" fmla="*/ 223174 w 443626"/>
              <a:gd name="connsiteY145" fmla="*/ 304898 h 658368"/>
              <a:gd name="connsiteX146" fmla="*/ 258190 w 443626"/>
              <a:gd name="connsiteY146" fmla="*/ 297795 h 658368"/>
              <a:gd name="connsiteX147" fmla="*/ 258219 w 443626"/>
              <a:gd name="connsiteY147" fmla="*/ 297784 h 658368"/>
              <a:gd name="connsiteX148" fmla="*/ 258219 w 443626"/>
              <a:gd name="connsiteY148" fmla="*/ 307736 h 658368"/>
              <a:gd name="connsiteX149" fmla="*/ 265634 w 443626"/>
              <a:gd name="connsiteY149" fmla="*/ 324191 h 658368"/>
              <a:gd name="connsiteX150" fmla="*/ 223179 w 443626"/>
              <a:gd name="connsiteY150" fmla="*/ 285610 h 658368"/>
              <a:gd name="connsiteX151" fmla="*/ 150246 w 443626"/>
              <a:gd name="connsiteY151" fmla="*/ 214997 h 658368"/>
              <a:gd name="connsiteX152" fmla="*/ 150246 w 443626"/>
              <a:gd name="connsiteY152" fmla="*/ 186824 h 658368"/>
              <a:gd name="connsiteX153" fmla="*/ 244467 w 443626"/>
              <a:gd name="connsiteY153" fmla="*/ 118094 h 658368"/>
              <a:gd name="connsiteX154" fmla="*/ 293787 w 443626"/>
              <a:gd name="connsiteY154" fmla="*/ 148910 h 658368"/>
              <a:gd name="connsiteX155" fmla="*/ 293787 w 443626"/>
              <a:gd name="connsiteY155" fmla="*/ 214997 h 658368"/>
              <a:gd name="connsiteX156" fmla="*/ 223179 w 443626"/>
              <a:gd name="connsiteY156" fmla="*/ 285610 h 658368"/>
              <a:gd name="connsiteX157" fmla="*/ 297981 w 443626"/>
              <a:gd name="connsiteY157" fmla="*/ 509623 h 658368"/>
              <a:gd name="connsiteX158" fmla="*/ 293294 w 443626"/>
              <a:gd name="connsiteY158" fmla="*/ 509623 h 658368"/>
              <a:gd name="connsiteX159" fmla="*/ 289697 w 443626"/>
              <a:gd name="connsiteY159" fmla="*/ 509869 h 658368"/>
              <a:gd name="connsiteX160" fmla="*/ 297976 w 443626"/>
              <a:gd name="connsiteY160" fmla="*/ 499326 h 658368"/>
              <a:gd name="connsiteX161" fmla="*/ 297976 w 443626"/>
              <a:gd name="connsiteY161" fmla="*/ 509623 h 658368"/>
              <a:gd name="connsiteX162" fmla="*/ 301588 w 443626"/>
              <a:gd name="connsiteY162" fmla="*/ 401293 h 658368"/>
              <a:gd name="connsiteX163" fmla="*/ 302888 w 443626"/>
              <a:gd name="connsiteY163" fmla="*/ 428532 h 658368"/>
              <a:gd name="connsiteX164" fmla="*/ 319248 w 443626"/>
              <a:gd name="connsiteY164" fmla="*/ 441040 h 658368"/>
              <a:gd name="connsiteX165" fmla="*/ 284922 w 443626"/>
              <a:gd name="connsiteY165" fmla="*/ 484729 h 658368"/>
              <a:gd name="connsiteX166" fmla="*/ 284922 w 443626"/>
              <a:gd name="connsiteY166" fmla="*/ 333197 h 658368"/>
              <a:gd name="connsiteX167" fmla="*/ 311478 w 443626"/>
              <a:gd name="connsiteY167" fmla="*/ 343484 h 658368"/>
              <a:gd name="connsiteX168" fmla="*/ 331328 w 443626"/>
              <a:gd name="connsiteY168" fmla="*/ 373903 h 658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</a:cxnLst>
            <a:rect l="l" t="t" r="r" b="b"/>
            <a:pathLst>
              <a:path w="443626" h="658368">
                <a:moveTo>
                  <a:pt x="434253" y="499753"/>
                </a:moveTo>
                <a:cubicBezTo>
                  <a:pt x="439583" y="499753"/>
                  <a:pt x="443897" y="495434"/>
                  <a:pt x="443897" y="490109"/>
                </a:cubicBezTo>
                <a:lnTo>
                  <a:pt x="443897" y="432972"/>
                </a:lnTo>
                <a:cubicBezTo>
                  <a:pt x="443897" y="375948"/>
                  <a:pt x="395075" y="355222"/>
                  <a:pt x="392994" y="354368"/>
                </a:cubicBezTo>
                <a:cubicBezTo>
                  <a:pt x="392935" y="354344"/>
                  <a:pt x="392875" y="354318"/>
                  <a:pt x="392814" y="354293"/>
                </a:cubicBezTo>
                <a:lnTo>
                  <a:pt x="279617" y="310458"/>
                </a:lnTo>
                <a:cubicBezTo>
                  <a:pt x="279070" y="310187"/>
                  <a:pt x="279351" y="310332"/>
                  <a:pt x="279115" y="310226"/>
                </a:cubicBezTo>
                <a:cubicBezTo>
                  <a:pt x="278155" y="309775"/>
                  <a:pt x="277513" y="308806"/>
                  <a:pt x="277513" y="307736"/>
                </a:cubicBezTo>
                <a:lnTo>
                  <a:pt x="277513" y="304898"/>
                </a:lnTo>
                <a:lnTo>
                  <a:pt x="319393" y="304898"/>
                </a:lnTo>
                <a:cubicBezTo>
                  <a:pt x="332916" y="304898"/>
                  <a:pt x="343920" y="293892"/>
                  <a:pt x="343920" y="280371"/>
                </a:cubicBezTo>
                <a:lnTo>
                  <a:pt x="343920" y="209316"/>
                </a:lnTo>
                <a:cubicBezTo>
                  <a:pt x="354740" y="195301"/>
                  <a:pt x="354750" y="176803"/>
                  <a:pt x="343920" y="162773"/>
                </a:cubicBezTo>
                <a:lnTo>
                  <a:pt x="343920" y="122032"/>
                </a:lnTo>
                <a:cubicBezTo>
                  <a:pt x="343920" y="54815"/>
                  <a:pt x="289236" y="130"/>
                  <a:pt x="222014" y="130"/>
                </a:cubicBezTo>
                <a:cubicBezTo>
                  <a:pt x="154796" y="130"/>
                  <a:pt x="100117" y="54815"/>
                  <a:pt x="100117" y="122032"/>
                </a:cubicBezTo>
                <a:lnTo>
                  <a:pt x="100117" y="280371"/>
                </a:lnTo>
                <a:cubicBezTo>
                  <a:pt x="100117" y="293892"/>
                  <a:pt x="111117" y="304898"/>
                  <a:pt x="124644" y="304898"/>
                </a:cubicBezTo>
                <a:lnTo>
                  <a:pt x="166395" y="304898"/>
                </a:lnTo>
                <a:lnTo>
                  <a:pt x="166395" y="307741"/>
                </a:lnTo>
                <a:cubicBezTo>
                  <a:pt x="166395" y="308896"/>
                  <a:pt x="165697" y="309915"/>
                  <a:pt x="164617" y="310332"/>
                </a:cubicBezTo>
                <a:cubicBezTo>
                  <a:pt x="140532" y="319670"/>
                  <a:pt x="56618" y="352204"/>
                  <a:pt x="51213" y="354299"/>
                </a:cubicBezTo>
                <a:cubicBezTo>
                  <a:pt x="51153" y="354323"/>
                  <a:pt x="51093" y="354344"/>
                  <a:pt x="51032" y="354368"/>
                </a:cubicBezTo>
                <a:cubicBezTo>
                  <a:pt x="48958" y="355222"/>
                  <a:pt x="130" y="375953"/>
                  <a:pt x="130" y="432972"/>
                </a:cubicBezTo>
                <a:lnTo>
                  <a:pt x="130" y="633885"/>
                </a:lnTo>
                <a:cubicBezTo>
                  <a:pt x="130" y="647457"/>
                  <a:pt x="11170" y="658498"/>
                  <a:pt x="24747" y="658498"/>
                </a:cubicBezTo>
                <a:lnTo>
                  <a:pt x="199511" y="658498"/>
                </a:lnTo>
                <a:cubicBezTo>
                  <a:pt x="204840" y="658498"/>
                  <a:pt x="209155" y="654184"/>
                  <a:pt x="209155" y="648854"/>
                </a:cubicBezTo>
                <a:cubicBezTo>
                  <a:pt x="209155" y="643524"/>
                  <a:pt x="204840" y="639210"/>
                  <a:pt x="199511" y="639210"/>
                </a:cubicBezTo>
                <a:lnTo>
                  <a:pt x="177365" y="639210"/>
                </a:lnTo>
                <a:cubicBezTo>
                  <a:pt x="177365" y="630736"/>
                  <a:pt x="177365" y="382070"/>
                  <a:pt x="177365" y="372235"/>
                </a:cubicBezTo>
                <a:cubicBezTo>
                  <a:pt x="203449" y="389821"/>
                  <a:pt x="238549" y="390498"/>
                  <a:pt x="265634" y="372230"/>
                </a:cubicBezTo>
                <a:lnTo>
                  <a:pt x="265634" y="639210"/>
                </a:lnTo>
                <a:lnTo>
                  <a:pt x="244522" y="639210"/>
                </a:lnTo>
                <a:cubicBezTo>
                  <a:pt x="239192" y="639210"/>
                  <a:pt x="234873" y="643524"/>
                  <a:pt x="234873" y="648854"/>
                </a:cubicBezTo>
                <a:cubicBezTo>
                  <a:pt x="234873" y="654184"/>
                  <a:pt x="239192" y="658498"/>
                  <a:pt x="244522" y="658498"/>
                </a:cubicBezTo>
                <a:lnTo>
                  <a:pt x="419285" y="658498"/>
                </a:lnTo>
                <a:cubicBezTo>
                  <a:pt x="432857" y="658498"/>
                  <a:pt x="443897" y="647457"/>
                  <a:pt x="443897" y="633885"/>
                </a:cubicBezTo>
                <a:lnTo>
                  <a:pt x="443897" y="535114"/>
                </a:lnTo>
                <a:cubicBezTo>
                  <a:pt x="443897" y="529790"/>
                  <a:pt x="439583" y="525470"/>
                  <a:pt x="434253" y="525470"/>
                </a:cubicBezTo>
                <a:cubicBezTo>
                  <a:pt x="428924" y="525470"/>
                  <a:pt x="424609" y="529790"/>
                  <a:pt x="424609" y="535114"/>
                </a:cubicBezTo>
                <a:lnTo>
                  <a:pt x="424609" y="633885"/>
                </a:lnTo>
                <a:cubicBezTo>
                  <a:pt x="424609" y="636819"/>
                  <a:pt x="422224" y="639210"/>
                  <a:pt x="419285" y="639210"/>
                </a:cubicBezTo>
                <a:lnTo>
                  <a:pt x="382923" y="639210"/>
                </a:lnTo>
                <a:lnTo>
                  <a:pt x="382923" y="465160"/>
                </a:lnTo>
                <a:cubicBezTo>
                  <a:pt x="382923" y="459830"/>
                  <a:pt x="378609" y="455511"/>
                  <a:pt x="373279" y="455511"/>
                </a:cubicBezTo>
                <a:cubicBezTo>
                  <a:pt x="367951" y="455511"/>
                  <a:pt x="363635" y="459830"/>
                  <a:pt x="363635" y="465160"/>
                </a:cubicBezTo>
                <a:lnTo>
                  <a:pt x="363635" y="639210"/>
                </a:lnTo>
                <a:lnTo>
                  <a:pt x="284922" y="639210"/>
                </a:lnTo>
                <a:lnTo>
                  <a:pt x="284922" y="631450"/>
                </a:lnTo>
                <a:cubicBezTo>
                  <a:pt x="287563" y="632238"/>
                  <a:pt x="290376" y="632670"/>
                  <a:pt x="293294" y="632670"/>
                </a:cubicBezTo>
                <a:cubicBezTo>
                  <a:pt x="298624" y="632670"/>
                  <a:pt x="302938" y="628351"/>
                  <a:pt x="302938" y="623026"/>
                </a:cubicBezTo>
                <a:cubicBezTo>
                  <a:pt x="302938" y="617697"/>
                  <a:pt x="298624" y="613382"/>
                  <a:pt x="293294" y="613382"/>
                </a:cubicBezTo>
                <a:cubicBezTo>
                  <a:pt x="288759" y="613382"/>
                  <a:pt x="284922" y="610354"/>
                  <a:pt x="284922" y="606767"/>
                </a:cubicBezTo>
                <a:lnTo>
                  <a:pt x="284922" y="535526"/>
                </a:lnTo>
                <a:cubicBezTo>
                  <a:pt x="284922" y="531940"/>
                  <a:pt x="288754" y="528911"/>
                  <a:pt x="293294" y="528911"/>
                </a:cubicBezTo>
                <a:lnTo>
                  <a:pt x="321950" y="528911"/>
                </a:lnTo>
                <a:cubicBezTo>
                  <a:pt x="326491" y="528911"/>
                  <a:pt x="330323" y="531940"/>
                  <a:pt x="330323" y="535526"/>
                </a:cubicBezTo>
                <a:lnTo>
                  <a:pt x="330323" y="606767"/>
                </a:lnTo>
                <a:cubicBezTo>
                  <a:pt x="330323" y="610354"/>
                  <a:pt x="326491" y="613382"/>
                  <a:pt x="321950" y="613382"/>
                </a:cubicBezTo>
                <a:cubicBezTo>
                  <a:pt x="316621" y="613382"/>
                  <a:pt x="312306" y="617697"/>
                  <a:pt x="312306" y="623026"/>
                </a:cubicBezTo>
                <a:cubicBezTo>
                  <a:pt x="312306" y="628351"/>
                  <a:pt x="316621" y="632670"/>
                  <a:pt x="321950" y="632670"/>
                </a:cubicBezTo>
                <a:cubicBezTo>
                  <a:pt x="337205" y="632670"/>
                  <a:pt x="349612" y="621052"/>
                  <a:pt x="349612" y="606767"/>
                </a:cubicBezTo>
                <a:lnTo>
                  <a:pt x="349612" y="535526"/>
                </a:lnTo>
                <a:cubicBezTo>
                  <a:pt x="349612" y="521246"/>
                  <a:pt x="337205" y="509623"/>
                  <a:pt x="321950" y="509623"/>
                </a:cubicBezTo>
                <a:lnTo>
                  <a:pt x="317269" y="509623"/>
                </a:lnTo>
                <a:lnTo>
                  <a:pt x="317269" y="474779"/>
                </a:lnTo>
                <a:lnTo>
                  <a:pt x="335406" y="451693"/>
                </a:lnTo>
                <a:cubicBezTo>
                  <a:pt x="341525" y="443907"/>
                  <a:pt x="340159" y="432747"/>
                  <a:pt x="332122" y="426603"/>
                </a:cubicBezTo>
                <a:lnTo>
                  <a:pt x="315983" y="414263"/>
                </a:lnTo>
                <a:lnTo>
                  <a:pt x="345327" y="387229"/>
                </a:lnTo>
                <a:cubicBezTo>
                  <a:pt x="351741" y="381321"/>
                  <a:pt x="352968" y="371768"/>
                  <a:pt x="348236" y="364520"/>
                </a:cubicBezTo>
                <a:lnTo>
                  <a:pt x="342294" y="355419"/>
                </a:lnTo>
                <a:lnTo>
                  <a:pt x="364605" y="364058"/>
                </a:lnTo>
                <a:lnTo>
                  <a:pt x="385711" y="372230"/>
                </a:lnTo>
                <a:cubicBezTo>
                  <a:pt x="385777" y="372260"/>
                  <a:pt x="385877" y="372306"/>
                  <a:pt x="385993" y="372356"/>
                </a:cubicBezTo>
                <a:cubicBezTo>
                  <a:pt x="389776" y="374059"/>
                  <a:pt x="424609" y="390920"/>
                  <a:pt x="424609" y="432972"/>
                </a:cubicBezTo>
                <a:lnTo>
                  <a:pt x="424609" y="490109"/>
                </a:lnTo>
                <a:cubicBezTo>
                  <a:pt x="424609" y="495434"/>
                  <a:pt x="428929" y="499753"/>
                  <a:pt x="434253" y="499753"/>
                </a:cubicBezTo>
                <a:close/>
                <a:moveTo>
                  <a:pt x="158077" y="639210"/>
                </a:moveTo>
                <a:lnTo>
                  <a:pt x="80397" y="639210"/>
                </a:lnTo>
                <a:lnTo>
                  <a:pt x="80397" y="465160"/>
                </a:lnTo>
                <a:cubicBezTo>
                  <a:pt x="80397" y="459830"/>
                  <a:pt x="76082" y="455511"/>
                  <a:pt x="70753" y="455511"/>
                </a:cubicBezTo>
                <a:cubicBezTo>
                  <a:pt x="65423" y="455511"/>
                  <a:pt x="61109" y="459830"/>
                  <a:pt x="61109" y="465160"/>
                </a:cubicBezTo>
                <a:lnTo>
                  <a:pt x="61109" y="639210"/>
                </a:lnTo>
                <a:lnTo>
                  <a:pt x="24747" y="639210"/>
                </a:lnTo>
                <a:cubicBezTo>
                  <a:pt x="21814" y="639210"/>
                  <a:pt x="19423" y="636819"/>
                  <a:pt x="19423" y="633885"/>
                </a:cubicBezTo>
                <a:lnTo>
                  <a:pt x="19423" y="432972"/>
                </a:lnTo>
                <a:cubicBezTo>
                  <a:pt x="19423" y="403433"/>
                  <a:pt x="38857" y="380548"/>
                  <a:pt x="58311" y="372235"/>
                </a:cubicBezTo>
                <a:lnTo>
                  <a:pt x="100368" y="355930"/>
                </a:lnTo>
                <a:lnTo>
                  <a:pt x="94762" y="364520"/>
                </a:lnTo>
                <a:cubicBezTo>
                  <a:pt x="90031" y="371768"/>
                  <a:pt x="91251" y="381321"/>
                  <a:pt x="97671" y="387229"/>
                </a:cubicBezTo>
                <a:lnTo>
                  <a:pt x="127015" y="414263"/>
                </a:lnTo>
                <a:lnTo>
                  <a:pt x="110876" y="426603"/>
                </a:lnTo>
                <a:cubicBezTo>
                  <a:pt x="102869" y="432721"/>
                  <a:pt x="101448" y="443873"/>
                  <a:pt x="107586" y="451688"/>
                </a:cubicBezTo>
                <a:lnTo>
                  <a:pt x="126764" y="476099"/>
                </a:lnTo>
                <a:lnTo>
                  <a:pt x="126764" y="528604"/>
                </a:lnTo>
                <a:cubicBezTo>
                  <a:pt x="114292" y="532673"/>
                  <a:pt x="105255" y="544406"/>
                  <a:pt x="105255" y="558220"/>
                </a:cubicBezTo>
                <a:cubicBezTo>
                  <a:pt x="105255" y="575398"/>
                  <a:pt x="119229" y="589372"/>
                  <a:pt x="136407" y="589372"/>
                </a:cubicBezTo>
                <a:cubicBezTo>
                  <a:pt x="144826" y="589372"/>
                  <a:pt x="152466" y="586012"/>
                  <a:pt x="158077" y="580571"/>
                </a:cubicBezTo>
                <a:close/>
                <a:moveTo>
                  <a:pt x="136407" y="546356"/>
                </a:moveTo>
                <a:cubicBezTo>
                  <a:pt x="142952" y="546356"/>
                  <a:pt x="148272" y="551680"/>
                  <a:pt x="148272" y="558220"/>
                </a:cubicBezTo>
                <a:cubicBezTo>
                  <a:pt x="148272" y="564764"/>
                  <a:pt x="142952" y="570084"/>
                  <a:pt x="136407" y="570084"/>
                </a:cubicBezTo>
                <a:cubicBezTo>
                  <a:pt x="129868" y="570084"/>
                  <a:pt x="124543" y="564764"/>
                  <a:pt x="124543" y="558220"/>
                </a:cubicBezTo>
                <a:cubicBezTo>
                  <a:pt x="124543" y="551680"/>
                  <a:pt x="129868" y="546356"/>
                  <a:pt x="136407" y="546356"/>
                </a:cubicBezTo>
                <a:close/>
                <a:moveTo>
                  <a:pt x="158077" y="535868"/>
                </a:moveTo>
                <a:cubicBezTo>
                  <a:pt x="154711" y="532603"/>
                  <a:pt x="150612" y="530092"/>
                  <a:pt x="146051" y="528604"/>
                </a:cubicBezTo>
                <a:lnTo>
                  <a:pt x="146051" y="500647"/>
                </a:lnTo>
                <a:lnTo>
                  <a:pt x="158077" y="515947"/>
                </a:lnTo>
                <a:close/>
                <a:moveTo>
                  <a:pt x="158077" y="484724"/>
                </a:moveTo>
                <a:lnTo>
                  <a:pt x="123750" y="441040"/>
                </a:lnTo>
                <a:lnTo>
                  <a:pt x="140109" y="428527"/>
                </a:lnTo>
                <a:cubicBezTo>
                  <a:pt x="149020" y="421721"/>
                  <a:pt x="149613" y="408852"/>
                  <a:pt x="141410" y="401293"/>
                </a:cubicBezTo>
                <a:lnTo>
                  <a:pt x="111675" y="373898"/>
                </a:lnTo>
                <a:lnTo>
                  <a:pt x="131199" y="343976"/>
                </a:lnTo>
                <a:lnTo>
                  <a:pt x="158077" y="333554"/>
                </a:lnTo>
                <a:close/>
                <a:moveTo>
                  <a:pt x="324632" y="280371"/>
                </a:moveTo>
                <a:cubicBezTo>
                  <a:pt x="324632" y="283259"/>
                  <a:pt x="322282" y="285610"/>
                  <a:pt x="319393" y="285610"/>
                </a:cubicBezTo>
                <a:lnTo>
                  <a:pt x="278759" y="285610"/>
                </a:lnTo>
                <a:cubicBezTo>
                  <a:pt x="296550" y="271565"/>
                  <a:pt x="309142" y="250699"/>
                  <a:pt x="312281" y="226755"/>
                </a:cubicBezTo>
                <a:cubicBezTo>
                  <a:pt x="316466" y="226309"/>
                  <a:pt x="320750" y="225248"/>
                  <a:pt x="324632" y="223711"/>
                </a:cubicBezTo>
                <a:close/>
                <a:moveTo>
                  <a:pt x="332745" y="186044"/>
                </a:moveTo>
                <a:cubicBezTo>
                  <a:pt x="332745" y="196387"/>
                  <a:pt x="323612" y="204805"/>
                  <a:pt x="313080" y="207076"/>
                </a:cubicBezTo>
                <a:lnTo>
                  <a:pt x="313080" y="165014"/>
                </a:lnTo>
                <a:cubicBezTo>
                  <a:pt x="323498" y="167264"/>
                  <a:pt x="332745" y="175631"/>
                  <a:pt x="332745" y="186044"/>
                </a:cubicBezTo>
                <a:close/>
                <a:moveTo>
                  <a:pt x="124644" y="285610"/>
                </a:moveTo>
                <a:cubicBezTo>
                  <a:pt x="121756" y="285610"/>
                  <a:pt x="119405" y="283259"/>
                  <a:pt x="119405" y="280371"/>
                </a:cubicBezTo>
                <a:lnTo>
                  <a:pt x="119405" y="122032"/>
                </a:lnTo>
                <a:cubicBezTo>
                  <a:pt x="119405" y="65453"/>
                  <a:pt x="165436" y="19418"/>
                  <a:pt x="222019" y="19418"/>
                </a:cubicBezTo>
                <a:cubicBezTo>
                  <a:pt x="278603" y="19418"/>
                  <a:pt x="324632" y="65453"/>
                  <a:pt x="324632" y="122032"/>
                </a:cubicBezTo>
                <a:lnTo>
                  <a:pt x="324632" y="148382"/>
                </a:lnTo>
                <a:cubicBezTo>
                  <a:pt x="324592" y="148367"/>
                  <a:pt x="324552" y="148353"/>
                  <a:pt x="324513" y="148337"/>
                </a:cubicBezTo>
                <a:cubicBezTo>
                  <a:pt x="320765" y="146865"/>
                  <a:pt x="316787" y="145886"/>
                  <a:pt x="312980" y="145418"/>
                </a:cubicBezTo>
                <a:cubicBezTo>
                  <a:pt x="312247" y="138638"/>
                  <a:pt x="307499" y="132922"/>
                  <a:pt x="300959" y="130947"/>
                </a:cubicBezTo>
                <a:cubicBezTo>
                  <a:pt x="286172" y="126452"/>
                  <a:pt x="270138" y="116888"/>
                  <a:pt x="256647" y="102970"/>
                </a:cubicBezTo>
                <a:cubicBezTo>
                  <a:pt x="249645" y="95757"/>
                  <a:pt x="238046" y="96174"/>
                  <a:pt x="231532" y="103603"/>
                </a:cubicBezTo>
                <a:cubicBezTo>
                  <a:pt x="208025" y="130415"/>
                  <a:pt x="175465" y="156962"/>
                  <a:pt x="142124" y="169268"/>
                </a:cubicBezTo>
                <a:cubicBezTo>
                  <a:pt x="135443" y="171734"/>
                  <a:pt x="130957" y="178174"/>
                  <a:pt x="130957" y="185296"/>
                </a:cubicBezTo>
                <a:lnTo>
                  <a:pt x="130957" y="214997"/>
                </a:lnTo>
                <a:cubicBezTo>
                  <a:pt x="130957" y="242045"/>
                  <a:pt x="143158" y="268340"/>
                  <a:pt x="165315" y="285610"/>
                </a:cubicBezTo>
                <a:close/>
                <a:moveTo>
                  <a:pt x="265634" y="346884"/>
                </a:moveTo>
                <a:cubicBezTo>
                  <a:pt x="241985" y="372863"/>
                  <a:pt x="201038" y="372908"/>
                  <a:pt x="177365" y="346905"/>
                </a:cubicBezTo>
                <a:lnTo>
                  <a:pt x="177365" y="324979"/>
                </a:lnTo>
                <a:cubicBezTo>
                  <a:pt x="182503" y="320850"/>
                  <a:pt x="185683" y="314511"/>
                  <a:pt x="185683" y="307741"/>
                </a:cubicBezTo>
                <a:lnTo>
                  <a:pt x="185683" y="297523"/>
                </a:lnTo>
                <a:cubicBezTo>
                  <a:pt x="196763" y="302179"/>
                  <a:pt x="209823" y="304898"/>
                  <a:pt x="223174" y="304898"/>
                </a:cubicBezTo>
                <a:cubicBezTo>
                  <a:pt x="234676" y="304898"/>
                  <a:pt x="246842" y="302611"/>
                  <a:pt x="258190" y="297795"/>
                </a:cubicBezTo>
                <a:cubicBezTo>
                  <a:pt x="258199" y="297789"/>
                  <a:pt x="258209" y="297789"/>
                  <a:pt x="258219" y="297784"/>
                </a:cubicBezTo>
                <a:lnTo>
                  <a:pt x="258219" y="307736"/>
                </a:lnTo>
                <a:cubicBezTo>
                  <a:pt x="258219" y="314100"/>
                  <a:pt x="261031" y="320067"/>
                  <a:pt x="265634" y="324191"/>
                </a:cubicBezTo>
                <a:close/>
                <a:moveTo>
                  <a:pt x="223179" y="285610"/>
                </a:moveTo>
                <a:cubicBezTo>
                  <a:pt x="178234" y="285610"/>
                  <a:pt x="150246" y="250478"/>
                  <a:pt x="150246" y="214997"/>
                </a:cubicBezTo>
                <a:lnTo>
                  <a:pt x="150246" y="186824"/>
                </a:lnTo>
                <a:cubicBezTo>
                  <a:pt x="194523" y="169997"/>
                  <a:pt x="229825" y="134488"/>
                  <a:pt x="244467" y="118094"/>
                </a:cubicBezTo>
                <a:cubicBezTo>
                  <a:pt x="263387" y="136950"/>
                  <a:pt x="282841" y="145379"/>
                  <a:pt x="293787" y="148910"/>
                </a:cubicBezTo>
                <a:lnTo>
                  <a:pt x="293787" y="214997"/>
                </a:lnTo>
                <a:cubicBezTo>
                  <a:pt x="293787" y="253543"/>
                  <a:pt x="262419" y="285610"/>
                  <a:pt x="223179" y="285610"/>
                </a:cubicBezTo>
                <a:close/>
                <a:moveTo>
                  <a:pt x="297981" y="509623"/>
                </a:moveTo>
                <a:lnTo>
                  <a:pt x="293294" y="509623"/>
                </a:lnTo>
                <a:cubicBezTo>
                  <a:pt x="292074" y="509623"/>
                  <a:pt x="290878" y="509724"/>
                  <a:pt x="289697" y="509869"/>
                </a:cubicBezTo>
                <a:lnTo>
                  <a:pt x="297976" y="499326"/>
                </a:lnTo>
                <a:lnTo>
                  <a:pt x="297976" y="509623"/>
                </a:lnTo>
                <a:close/>
                <a:moveTo>
                  <a:pt x="301588" y="401293"/>
                </a:moveTo>
                <a:cubicBezTo>
                  <a:pt x="293375" y="408857"/>
                  <a:pt x="293987" y="421726"/>
                  <a:pt x="302888" y="428532"/>
                </a:cubicBezTo>
                <a:lnTo>
                  <a:pt x="319248" y="441040"/>
                </a:lnTo>
                <a:lnTo>
                  <a:pt x="284922" y="484729"/>
                </a:lnTo>
                <a:cubicBezTo>
                  <a:pt x="284922" y="478731"/>
                  <a:pt x="284922" y="339777"/>
                  <a:pt x="284922" y="333197"/>
                </a:cubicBezTo>
                <a:lnTo>
                  <a:pt x="311478" y="343484"/>
                </a:lnTo>
                <a:lnTo>
                  <a:pt x="331328" y="373903"/>
                </a:lnTo>
                <a:close/>
              </a:path>
            </a:pathLst>
          </a:custGeom>
          <a:solidFill>
            <a:schemeClr val="tx2"/>
          </a:solidFill>
          <a:ln w="12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5" name="Freeform: Shape 54">
            <a:extLst>
              <a:ext uri="{FF2B5EF4-FFF2-40B4-BE49-F238E27FC236}">
                <a16:creationId xmlns:a16="http://schemas.microsoft.com/office/drawing/2014/main" id="{93CD59B2-41BB-712D-1F55-2026A783546A}"/>
              </a:ext>
            </a:extLst>
          </p:cNvPr>
          <p:cNvSpPr>
            <a:spLocks noChangeAspect="1"/>
          </p:cNvSpPr>
          <p:nvPr/>
        </p:nvSpPr>
        <p:spPr>
          <a:xfrm>
            <a:off x="2306350" y="2278632"/>
            <a:ext cx="472308" cy="700708"/>
          </a:xfrm>
          <a:custGeom>
            <a:avLst/>
            <a:gdLst>
              <a:gd name="connsiteX0" fmla="*/ 356641 w 443768"/>
              <a:gd name="connsiteY0" fmla="*/ 488105 h 658369"/>
              <a:gd name="connsiteX1" fmla="*/ 366285 w 443768"/>
              <a:gd name="connsiteY1" fmla="*/ 497749 h 658369"/>
              <a:gd name="connsiteX2" fmla="*/ 366285 w 443768"/>
              <a:gd name="connsiteY2" fmla="*/ 639081 h 658369"/>
              <a:gd name="connsiteX3" fmla="*/ 419151 w 443768"/>
              <a:gd name="connsiteY3" fmla="*/ 639081 h 658369"/>
              <a:gd name="connsiteX4" fmla="*/ 424480 w 443768"/>
              <a:gd name="connsiteY4" fmla="*/ 633751 h 658369"/>
              <a:gd name="connsiteX5" fmla="*/ 424480 w 443768"/>
              <a:gd name="connsiteY5" fmla="*/ 548487 h 658369"/>
              <a:gd name="connsiteX6" fmla="*/ 434124 w 443768"/>
              <a:gd name="connsiteY6" fmla="*/ 538843 h 658369"/>
              <a:gd name="connsiteX7" fmla="*/ 443768 w 443768"/>
              <a:gd name="connsiteY7" fmla="*/ 548492 h 658369"/>
              <a:gd name="connsiteX8" fmla="*/ 443768 w 443768"/>
              <a:gd name="connsiteY8" fmla="*/ 633756 h 658369"/>
              <a:gd name="connsiteX9" fmla="*/ 419151 w 443768"/>
              <a:gd name="connsiteY9" fmla="*/ 658369 h 658369"/>
              <a:gd name="connsiteX10" fmla="*/ 244387 w 443768"/>
              <a:gd name="connsiteY10" fmla="*/ 658369 h 658369"/>
              <a:gd name="connsiteX11" fmla="*/ 234743 w 443768"/>
              <a:gd name="connsiteY11" fmla="*/ 648725 h 658369"/>
              <a:gd name="connsiteX12" fmla="*/ 244387 w 443768"/>
              <a:gd name="connsiteY12" fmla="*/ 639081 h 658369"/>
              <a:gd name="connsiteX13" fmla="*/ 346997 w 443768"/>
              <a:gd name="connsiteY13" fmla="*/ 639081 h 658369"/>
              <a:gd name="connsiteX14" fmla="*/ 346997 w 443768"/>
              <a:gd name="connsiteY14" fmla="*/ 497749 h 658369"/>
              <a:gd name="connsiteX15" fmla="*/ 356641 w 443768"/>
              <a:gd name="connsiteY15" fmla="*/ 488105 h 658369"/>
              <a:gd name="connsiteX16" fmla="*/ 270833 w 443768"/>
              <a:gd name="connsiteY16" fmla="*/ 327617 h 658369"/>
              <a:gd name="connsiteX17" fmla="*/ 229379 w 443768"/>
              <a:gd name="connsiteY17" fmla="*/ 378785 h 658369"/>
              <a:gd name="connsiteX18" fmla="*/ 229314 w 443768"/>
              <a:gd name="connsiteY18" fmla="*/ 378861 h 658369"/>
              <a:gd name="connsiteX19" fmla="*/ 214324 w 443768"/>
              <a:gd name="connsiteY19" fmla="*/ 378866 h 658369"/>
              <a:gd name="connsiteX20" fmla="*/ 172834 w 443768"/>
              <a:gd name="connsiteY20" fmla="*/ 327653 h 658369"/>
              <a:gd name="connsiteX21" fmla="*/ 159538 w 443768"/>
              <a:gd name="connsiteY21" fmla="*/ 332805 h 658369"/>
              <a:gd name="connsiteX22" fmla="*/ 214580 w 443768"/>
              <a:gd name="connsiteY22" fmla="*/ 400746 h 658369"/>
              <a:gd name="connsiteX23" fmla="*/ 229188 w 443768"/>
              <a:gd name="connsiteY23" fmla="*/ 400746 h 658369"/>
              <a:gd name="connsiteX24" fmla="*/ 284230 w 443768"/>
              <a:gd name="connsiteY24" fmla="*/ 332810 h 658369"/>
              <a:gd name="connsiteX25" fmla="*/ 258085 w 443768"/>
              <a:gd name="connsiteY25" fmla="*/ 293968 h 658369"/>
              <a:gd name="connsiteX26" fmla="*/ 185548 w 443768"/>
              <a:gd name="connsiteY26" fmla="*/ 294571 h 658369"/>
              <a:gd name="connsiteX27" fmla="*/ 185548 w 443768"/>
              <a:gd name="connsiteY27" fmla="*/ 312538 h 658369"/>
              <a:gd name="connsiteX28" fmla="*/ 221879 w 443768"/>
              <a:gd name="connsiteY28" fmla="*/ 357388 h 658369"/>
              <a:gd name="connsiteX29" fmla="*/ 258085 w 443768"/>
              <a:gd name="connsiteY29" fmla="*/ 312704 h 658369"/>
              <a:gd name="connsiteX30" fmla="*/ 129306 w 443768"/>
              <a:gd name="connsiteY30" fmla="*/ 160966 h 658369"/>
              <a:gd name="connsiteX31" fmla="*/ 110661 w 443768"/>
              <a:gd name="connsiteY31" fmla="*/ 182001 h 658369"/>
              <a:gd name="connsiteX32" fmla="*/ 129306 w 443768"/>
              <a:gd name="connsiteY32" fmla="*/ 203524 h 658369"/>
              <a:gd name="connsiteX33" fmla="*/ 312384 w 443768"/>
              <a:gd name="connsiteY33" fmla="*/ 160478 h 658369"/>
              <a:gd name="connsiteX34" fmla="*/ 312384 w 443768"/>
              <a:gd name="connsiteY34" fmla="*/ 203524 h 658369"/>
              <a:gd name="connsiteX35" fmla="*/ 331029 w 443768"/>
              <a:gd name="connsiteY35" fmla="*/ 182001 h 658369"/>
              <a:gd name="connsiteX36" fmla="*/ 312384 w 443768"/>
              <a:gd name="connsiteY36" fmla="*/ 160478 h 658369"/>
              <a:gd name="connsiteX37" fmla="*/ 198894 w 443768"/>
              <a:gd name="connsiteY37" fmla="*/ 119436 h 658369"/>
              <a:gd name="connsiteX38" fmla="*/ 148594 w 443768"/>
              <a:gd name="connsiteY38" fmla="*/ 123349 h 658369"/>
              <a:gd name="connsiteX39" fmla="*/ 148594 w 443768"/>
              <a:gd name="connsiteY39" fmla="*/ 211120 h 658369"/>
              <a:gd name="connsiteX40" fmla="*/ 220845 w 443768"/>
              <a:gd name="connsiteY40" fmla="*/ 282170 h 658369"/>
              <a:gd name="connsiteX41" fmla="*/ 293096 w 443768"/>
              <a:gd name="connsiteY41" fmla="*/ 211139 h 658369"/>
              <a:gd name="connsiteX42" fmla="*/ 293096 w 443768"/>
              <a:gd name="connsiteY42" fmla="*/ 123349 h 658369"/>
              <a:gd name="connsiteX43" fmla="*/ 242800 w 443768"/>
              <a:gd name="connsiteY43" fmla="*/ 119436 h 658369"/>
              <a:gd name="connsiteX44" fmla="*/ 198894 w 443768"/>
              <a:gd name="connsiteY44" fmla="*/ 119436 h 658369"/>
              <a:gd name="connsiteX45" fmla="*/ 220839 w 443768"/>
              <a:gd name="connsiteY45" fmla="*/ 19288 h 658369"/>
              <a:gd name="connsiteX46" fmla="*/ 120606 w 443768"/>
              <a:gd name="connsiteY46" fmla="*/ 119526 h 658369"/>
              <a:gd name="connsiteX47" fmla="*/ 120601 w 443768"/>
              <a:gd name="connsiteY47" fmla="*/ 119526 h 658369"/>
              <a:gd name="connsiteX48" fmla="*/ 120601 w 443768"/>
              <a:gd name="connsiteY48" fmla="*/ 143390 h 658369"/>
              <a:gd name="connsiteX49" fmla="*/ 121766 w 443768"/>
              <a:gd name="connsiteY49" fmla="*/ 143024 h 658369"/>
              <a:gd name="connsiteX50" fmla="*/ 121771 w 443768"/>
              <a:gd name="connsiteY50" fmla="*/ 143024 h 658369"/>
              <a:gd name="connsiteX51" fmla="*/ 128622 w 443768"/>
              <a:gd name="connsiteY51" fmla="*/ 141481 h 658369"/>
              <a:gd name="connsiteX52" fmla="*/ 128627 w 443768"/>
              <a:gd name="connsiteY52" fmla="*/ 141481 h 658369"/>
              <a:gd name="connsiteX53" fmla="*/ 129301 w 443768"/>
              <a:gd name="connsiteY53" fmla="*/ 141376 h 658369"/>
              <a:gd name="connsiteX54" fmla="*/ 129301 w 443768"/>
              <a:gd name="connsiteY54" fmla="*/ 121043 h 658369"/>
              <a:gd name="connsiteX55" fmla="*/ 147705 w 443768"/>
              <a:gd name="connsiteY55" fmla="*/ 103960 h 658369"/>
              <a:gd name="connsiteX56" fmla="*/ 194931 w 443768"/>
              <a:gd name="connsiteY56" fmla="*/ 100554 h 658369"/>
              <a:gd name="connsiteX57" fmla="*/ 246754 w 443768"/>
              <a:gd name="connsiteY57" fmla="*/ 100554 h 658369"/>
              <a:gd name="connsiteX58" fmla="*/ 306893 w 443768"/>
              <a:gd name="connsiteY58" fmla="*/ 108481 h 658369"/>
              <a:gd name="connsiteX59" fmla="*/ 312384 w 443768"/>
              <a:gd name="connsiteY59" fmla="*/ 121043 h 658369"/>
              <a:gd name="connsiteX60" fmla="*/ 312384 w 443768"/>
              <a:gd name="connsiteY60" fmla="*/ 141049 h 658369"/>
              <a:gd name="connsiteX61" fmla="*/ 321078 w 443768"/>
              <a:gd name="connsiteY61" fmla="*/ 142727 h 658369"/>
              <a:gd name="connsiteX62" fmla="*/ 321078 w 443768"/>
              <a:gd name="connsiteY62" fmla="*/ 119526 h 658369"/>
              <a:gd name="connsiteX63" fmla="*/ 220839 w 443768"/>
              <a:gd name="connsiteY63" fmla="*/ 19288 h 658369"/>
              <a:gd name="connsiteX64" fmla="*/ 220839 w 443768"/>
              <a:gd name="connsiteY64" fmla="*/ 0 h 658369"/>
              <a:gd name="connsiteX65" fmla="*/ 340366 w 443768"/>
              <a:gd name="connsiteY65" fmla="*/ 119526 h 658369"/>
              <a:gd name="connsiteX66" fmla="*/ 340366 w 443768"/>
              <a:gd name="connsiteY66" fmla="*/ 155249 h 658369"/>
              <a:gd name="connsiteX67" fmla="*/ 350317 w 443768"/>
              <a:gd name="connsiteY67" fmla="*/ 182001 h 658369"/>
              <a:gd name="connsiteX68" fmla="*/ 311594 w 443768"/>
              <a:gd name="connsiteY68" fmla="*/ 223029 h 658369"/>
              <a:gd name="connsiteX69" fmla="*/ 277373 w 443768"/>
              <a:gd name="connsiteY69" fmla="*/ 282450 h 658369"/>
              <a:gd name="connsiteX70" fmla="*/ 277373 w 443768"/>
              <a:gd name="connsiteY70" fmla="*/ 309464 h 658369"/>
              <a:gd name="connsiteX71" fmla="*/ 392685 w 443768"/>
              <a:gd name="connsiteY71" fmla="*/ 354163 h 658369"/>
              <a:gd name="connsiteX72" fmla="*/ 392865 w 443768"/>
              <a:gd name="connsiteY72" fmla="*/ 354238 h 658369"/>
              <a:gd name="connsiteX73" fmla="*/ 443763 w 443768"/>
              <a:gd name="connsiteY73" fmla="*/ 432842 h 658369"/>
              <a:gd name="connsiteX74" fmla="*/ 443763 w 443768"/>
              <a:gd name="connsiteY74" fmla="*/ 503480 h 658369"/>
              <a:gd name="connsiteX75" fmla="*/ 434119 w 443768"/>
              <a:gd name="connsiteY75" fmla="*/ 513125 h 658369"/>
              <a:gd name="connsiteX76" fmla="*/ 424475 w 443768"/>
              <a:gd name="connsiteY76" fmla="*/ 503480 h 658369"/>
              <a:gd name="connsiteX77" fmla="*/ 424475 w 443768"/>
              <a:gd name="connsiteY77" fmla="*/ 432842 h 658369"/>
              <a:gd name="connsiteX78" fmla="*/ 385587 w 443768"/>
              <a:gd name="connsiteY78" fmla="*/ 372105 h 658369"/>
              <a:gd name="connsiteX79" fmla="*/ 303120 w 443768"/>
              <a:gd name="connsiteY79" fmla="*/ 340134 h 658369"/>
              <a:gd name="connsiteX80" fmla="*/ 244177 w 443768"/>
              <a:gd name="connsiteY80" fmla="*/ 412892 h 658369"/>
              <a:gd name="connsiteX81" fmla="*/ 199592 w 443768"/>
              <a:gd name="connsiteY81" fmla="*/ 412892 h 658369"/>
              <a:gd name="connsiteX82" fmla="*/ 140648 w 443768"/>
              <a:gd name="connsiteY82" fmla="*/ 340129 h 658369"/>
              <a:gd name="connsiteX83" fmla="*/ 58181 w 443768"/>
              <a:gd name="connsiteY83" fmla="*/ 372100 h 658369"/>
              <a:gd name="connsiteX84" fmla="*/ 19288 w 443768"/>
              <a:gd name="connsiteY84" fmla="*/ 432842 h 658369"/>
              <a:gd name="connsiteX85" fmla="*/ 19288 w 443768"/>
              <a:gd name="connsiteY85" fmla="*/ 633755 h 658369"/>
              <a:gd name="connsiteX86" fmla="*/ 24617 w 443768"/>
              <a:gd name="connsiteY86" fmla="*/ 639080 h 658369"/>
              <a:gd name="connsiteX87" fmla="*/ 75399 w 443768"/>
              <a:gd name="connsiteY87" fmla="*/ 639080 h 658369"/>
              <a:gd name="connsiteX88" fmla="*/ 75399 w 443768"/>
              <a:gd name="connsiteY88" fmla="*/ 504626 h 658369"/>
              <a:gd name="connsiteX89" fmla="*/ 85044 w 443768"/>
              <a:gd name="connsiteY89" fmla="*/ 494982 h 658369"/>
              <a:gd name="connsiteX90" fmla="*/ 94693 w 443768"/>
              <a:gd name="connsiteY90" fmla="*/ 504626 h 658369"/>
              <a:gd name="connsiteX91" fmla="*/ 94693 w 443768"/>
              <a:gd name="connsiteY91" fmla="*/ 639080 h 658369"/>
              <a:gd name="connsiteX92" fmla="*/ 199381 w 443768"/>
              <a:gd name="connsiteY92" fmla="*/ 639080 h 658369"/>
              <a:gd name="connsiteX93" fmla="*/ 209025 w 443768"/>
              <a:gd name="connsiteY93" fmla="*/ 648724 h 658369"/>
              <a:gd name="connsiteX94" fmla="*/ 199381 w 443768"/>
              <a:gd name="connsiteY94" fmla="*/ 658368 h 658369"/>
              <a:gd name="connsiteX95" fmla="*/ 24617 w 443768"/>
              <a:gd name="connsiteY95" fmla="*/ 658368 h 658369"/>
              <a:gd name="connsiteX96" fmla="*/ 0 w 443768"/>
              <a:gd name="connsiteY96" fmla="*/ 633755 h 658369"/>
              <a:gd name="connsiteX97" fmla="*/ 0 w 443768"/>
              <a:gd name="connsiteY97" fmla="*/ 432842 h 658369"/>
              <a:gd name="connsiteX98" fmla="*/ 50902 w 443768"/>
              <a:gd name="connsiteY98" fmla="*/ 354238 h 658369"/>
              <a:gd name="connsiteX99" fmla="*/ 51083 w 443768"/>
              <a:gd name="connsiteY99" fmla="*/ 354169 h 658369"/>
              <a:gd name="connsiteX100" fmla="*/ 166260 w 443768"/>
              <a:gd name="connsiteY100" fmla="*/ 309514 h 658369"/>
              <a:gd name="connsiteX101" fmla="*/ 166260 w 443768"/>
              <a:gd name="connsiteY101" fmla="*/ 283892 h 658369"/>
              <a:gd name="connsiteX102" fmla="*/ 130095 w 443768"/>
              <a:gd name="connsiteY102" fmla="*/ 223029 h 658369"/>
              <a:gd name="connsiteX103" fmla="*/ 91372 w 443768"/>
              <a:gd name="connsiteY103" fmla="*/ 182001 h 658369"/>
              <a:gd name="connsiteX104" fmla="*/ 101318 w 443768"/>
              <a:gd name="connsiteY104" fmla="*/ 156189 h 658369"/>
              <a:gd name="connsiteX105" fmla="*/ 101318 w 443768"/>
              <a:gd name="connsiteY105" fmla="*/ 119526 h 658369"/>
              <a:gd name="connsiteX106" fmla="*/ 220839 w 443768"/>
              <a:gd name="connsiteY106" fmla="*/ 0 h 658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</a:cxnLst>
            <a:rect l="l" t="t" r="r" b="b"/>
            <a:pathLst>
              <a:path w="443768" h="658369">
                <a:moveTo>
                  <a:pt x="356641" y="488105"/>
                </a:moveTo>
                <a:cubicBezTo>
                  <a:pt x="361965" y="488105"/>
                  <a:pt x="366285" y="492424"/>
                  <a:pt x="366285" y="497749"/>
                </a:cubicBezTo>
                <a:lnTo>
                  <a:pt x="366285" y="639081"/>
                </a:lnTo>
                <a:lnTo>
                  <a:pt x="419151" y="639081"/>
                </a:lnTo>
                <a:cubicBezTo>
                  <a:pt x="422090" y="639081"/>
                  <a:pt x="424480" y="636690"/>
                  <a:pt x="424480" y="633751"/>
                </a:cubicBezTo>
                <a:lnTo>
                  <a:pt x="424480" y="548487"/>
                </a:lnTo>
                <a:cubicBezTo>
                  <a:pt x="424480" y="543162"/>
                  <a:pt x="428795" y="538843"/>
                  <a:pt x="434124" y="538843"/>
                </a:cubicBezTo>
                <a:cubicBezTo>
                  <a:pt x="439449" y="538843"/>
                  <a:pt x="443768" y="543162"/>
                  <a:pt x="443768" y="548492"/>
                </a:cubicBezTo>
                <a:lnTo>
                  <a:pt x="443768" y="633756"/>
                </a:lnTo>
                <a:cubicBezTo>
                  <a:pt x="443768" y="647328"/>
                  <a:pt x="432724" y="658369"/>
                  <a:pt x="419151" y="658369"/>
                </a:cubicBezTo>
                <a:lnTo>
                  <a:pt x="244387" y="658369"/>
                </a:lnTo>
                <a:cubicBezTo>
                  <a:pt x="239062" y="658369"/>
                  <a:pt x="234743" y="654049"/>
                  <a:pt x="234743" y="648725"/>
                </a:cubicBezTo>
                <a:cubicBezTo>
                  <a:pt x="234743" y="643395"/>
                  <a:pt x="239062" y="639081"/>
                  <a:pt x="244387" y="639081"/>
                </a:cubicBezTo>
                <a:lnTo>
                  <a:pt x="346997" y="639081"/>
                </a:lnTo>
                <a:lnTo>
                  <a:pt x="346997" y="497749"/>
                </a:lnTo>
                <a:cubicBezTo>
                  <a:pt x="346997" y="492424"/>
                  <a:pt x="351311" y="488105"/>
                  <a:pt x="356641" y="488105"/>
                </a:cubicBezTo>
                <a:close/>
                <a:moveTo>
                  <a:pt x="270833" y="327617"/>
                </a:moveTo>
                <a:cubicBezTo>
                  <a:pt x="252349" y="350436"/>
                  <a:pt x="261958" y="338572"/>
                  <a:pt x="229379" y="378785"/>
                </a:cubicBezTo>
                <a:cubicBezTo>
                  <a:pt x="229359" y="378811"/>
                  <a:pt x="229334" y="378835"/>
                  <a:pt x="229314" y="378861"/>
                </a:cubicBezTo>
                <a:cubicBezTo>
                  <a:pt x="225200" y="383794"/>
                  <a:pt x="218046" y="383457"/>
                  <a:pt x="214324" y="378866"/>
                </a:cubicBezTo>
                <a:lnTo>
                  <a:pt x="172834" y="327653"/>
                </a:lnTo>
                <a:lnTo>
                  <a:pt x="159538" y="332805"/>
                </a:lnTo>
                <a:lnTo>
                  <a:pt x="214580" y="400746"/>
                </a:lnTo>
                <a:cubicBezTo>
                  <a:pt x="218339" y="405388"/>
                  <a:pt x="225421" y="405398"/>
                  <a:pt x="229188" y="400746"/>
                </a:cubicBezTo>
                <a:lnTo>
                  <a:pt x="284230" y="332810"/>
                </a:lnTo>
                <a:close/>
                <a:moveTo>
                  <a:pt x="258085" y="293968"/>
                </a:moveTo>
                <a:cubicBezTo>
                  <a:pt x="234186" y="304426"/>
                  <a:pt x="207076" y="303240"/>
                  <a:pt x="185548" y="294571"/>
                </a:cubicBezTo>
                <a:lnTo>
                  <a:pt x="185548" y="312538"/>
                </a:lnTo>
                <a:lnTo>
                  <a:pt x="221879" y="357388"/>
                </a:lnTo>
                <a:lnTo>
                  <a:pt x="258085" y="312704"/>
                </a:lnTo>
                <a:close/>
                <a:moveTo>
                  <a:pt x="129306" y="160966"/>
                </a:moveTo>
                <a:cubicBezTo>
                  <a:pt x="119220" y="163296"/>
                  <a:pt x="110661" y="171690"/>
                  <a:pt x="110661" y="182001"/>
                </a:cubicBezTo>
                <a:cubicBezTo>
                  <a:pt x="110661" y="192434"/>
                  <a:pt x="118094" y="201706"/>
                  <a:pt x="129306" y="203524"/>
                </a:cubicBezTo>
                <a:close/>
                <a:moveTo>
                  <a:pt x="312384" y="160478"/>
                </a:moveTo>
                <a:lnTo>
                  <a:pt x="312384" y="203524"/>
                </a:lnTo>
                <a:cubicBezTo>
                  <a:pt x="323428" y="201727"/>
                  <a:pt x="331029" y="192605"/>
                  <a:pt x="331029" y="182001"/>
                </a:cubicBezTo>
                <a:cubicBezTo>
                  <a:pt x="331029" y="171514"/>
                  <a:pt x="323499" y="162286"/>
                  <a:pt x="312384" y="160478"/>
                </a:cubicBezTo>
                <a:close/>
                <a:moveTo>
                  <a:pt x="198894" y="119436"/>
                </a:moveTo>
                <a:cubicBezTo>
                  <a:pt x="181901" y="122997"/>
                  <a:pt x="164989" y="124308"/>
                  <a:pt x="148594" y="123349"/>
                </a:cubicBezTo>
                <a:cubicBezTo>
                  <a:pt x="148594" y="132817"/>
                  <a:pt x="148594" y="201722"/>
                  <a:pt x="148594" y="211120"/>
                </a:cubicBezTo>
                <a:cubicBezTo>
                  <a:pt x="148594" y="250886"/>
                  <a:pt x="179545" y="281612"/>
                  <a:pt x="220845" y="282170"/>
                </a:cubicBezTo>
                <a:cubicBezTo>
                  <a:pt x="262079" y="281612"/>
                  <a:pt x="293054" y="251017"/>
                  <a:pt x="293096" y="211139"/>
                </a:cubicBezTo>
                <a:lnTo>
                  <a:pt x="293096" y="123349"/>
                </a:lnTo>
                <a:cubicBezTo>
                  <a:pt x="276208" y="124338"/>
                  <a:pt x="259221" y="122876"/>
                  <a:pt x="242800" y="119436"/>
                </a:cubicBezTo>
                <a:cubicBezTo>
                  <a:pt x="228228" y="116382"/>
                  <a:pt x="213455" y="116382"/>
                  <a:pt x="198894" y="119436"/>
                </a:cubicBezTo>
                <a:close/>
                <a:moveTo>
                  <a:pt x="220839" y="19288"/>
                </a:moveTo>
                <a:cubicBezTo>
                  <a:pt x="165572" y="19288"/>
                  <a:pt x="120606" y="64254"/>
                  <a:pt x="120606" y="119526"/>
                </a:cubicBezTo>
                <a:lnTo>
                  <a:pt x="120601" y="119526"/>
                </a:lnTo>
                <a:lnTo>
                  <a:pt x="120601" y="143390"/>
                </a:lnTo>
                <a:cubicBezTo>
                  <a:pt x="120988" y="143259"/>
                  <a:pt x="121380" y="143144"/>
                  <a:pt x="121766" y="143024"/>
                </a:cubicBezTo>
                <a:lnTo>
                  <a:pt x="121771" y="143024"/>
                </a:lnTo>
                <a:cubicBezTo>
                  <a:pt x="124017" y="142331"/>
                  <a:pt x="126307" y="141813"/>
                  <a:pt x="128622" y="141481"/>
                </a:cubicBezTo>
                <a:cubicBezTo>
                  <a:pt x="128627" y="141481"/>
                  <a:pt x="128627" y="141481"/>
                  <a:pt x="128627" y="141481"/>
                </a:cubicBezTo>
                <a:cubicBezTo>
                  <a:pt x="128854" y="141446"/>
                  <a:pt x="129075" y="141401"/>
                  <a:pt x="129301" y="141376"/>
                </a:cubicBezTo>
                <a:lnTo>
                  <a:pt x="129301" y="121043"/>
                </a:lnTo>
                <a:cubicBezTo>
                  <a:pt x="129301" y="111087"/>
                  <a:pt x="137799" y="103222"/>
                  <a:pt x="147705" y="103960"/>
                </a:cubicBezTo>
                <a:cubicBezTo>
                  <a:pt x="162990" y="105060"/>
                  <a:pt x="178897" y="103915"/>
                  <a:pt x="194931" y="100554"/>
                </a:cubicBezTo>
                <a:cubicBezTo>
                  <a:pt x="212124" y="96953"/>
                  <a:pt x="229559" y="96953"/>
                  <a:pt x="246754" y="100554"/>
                </a:cubicBezTo>
                <a:cubicBezTo>
                  <a:pt x="288388" y="109279"/>
                  <a:pt x="296360" y="98706"/>
                  <a:pt x="306893" y="108481"/>
                </a:cubicBezTo>
                <a:cubicBezTo>
                  <a:pt x="310379" y="111715"/>
                  <a:pt x="312384" y="116291"/>
                  <a:pt x="312384" y="121043"/>
                </a:cubicBezTo>
                <a:lnTo>
                  <a:pt x="312384" y="141049"/>
                </a:lnTo>
                <a:cubicBezTo>
                  <a:pt x="315367" y="141311"/>
                  <a:pt x="318276" y="141873"/>
                  <a:pt x="321078" y="142727"/>
                </a:cubicBezTo>
                <a:lnTo>
                  <a:pt x="321078" y="119526"/>
                </a:lnTo>
                <a:cubicBezTo>
                  <a:pt x="321078" y="64254"/>
                  <a:pt x="276113" y="19288"/>
                  <a:pt x="220839" y="19288"/>
                </a:cubicBezTo>
                <a:close/>
                <a:moveTo>
                  <a:pt x="220839" y="0"/>
                </a:moveTo>
                <a:cubicBezTo>
                  <a:pt x="286746" y="0"/>
                  <a:pt x="340366" y="53620"/>
                  <a:pt x="340366" y="119526"/>
                </a:cubicBezTo>
                <a:lnTo>
                  <a:pt x="340366" y="155249"/>
                </a:lnTo>
                <a:cubicBezTo>
                  <a:pt x="346740" y="162623"/>
                  <a:pt x="350317" y="172091"/>
                  <a:pt x="350317" y="182001"/>
                </a:cubicBezTo>
                <a:cubicBezTo>
                  <a:pt x="350317" y="203405"/>
                  <a:pt x="333857" y="221447"/>
                  <a:pt x="311594" y="223029"/>
                </a:cubicBezTo>
                <a:cubicBezTo>
                  <a:pt x="308556" y="246501"/>
                  <a:pt x="296566" y="267768"/>
                  <a:pt x="277373" y="282450"/>
                </a:cubicBezTo>
                <a:lnTo>
                  <a:pt x="277373" y="309464"/>
                </a:lnTo>
                <a:cubicBezTo>
                  <a:pt x="300725" y="318515"/>
                  <a:pt x="369343" y="345117"/>
                  <a:pt x="392685" y="354163"/>
                </a:cubicBezTo>
                <a:cubicBezTo>
                  <a:pt x="392746" y="354188"/>
                  <a:pt x="392806" y="354214"/>
                  <a:pt x="392865" y="354238"/>
                </a:cubicBezTo>
                <a:cubicBezTo>
                  <a:pt x="394946" y="355092"/>
                  <a:pt x="443768" y="375823"/>
                  <a:pt x="443763" y="432842"/>
                </a:cubicBezTo>
                <a:lnTo>
                  <a:pt x="443763" y="503480"/>
                </a:lnTo>
                <a:cubicBezTo>
                  <a:pt x="443763" y="508809"/>
                  <a:pt x="439449" y="513125"/>
                  <a:pt x="434119" y="513125"/>
                </a:cubicBezTo>
                <a:cubicBezTo>
                  <a:pt x="428795" y="513125"/>
                  <a:pt x="424475" y="508809"/>
                  <a:pt x="424475" y="503480"/>
                </a:cubicBezTo>
                <a:lnTo>
                  <a:pt x="424475" y="432842"/>
                </a:lnTo>
                <a:cubicBezTo>
                  <a:pt x="424475" y="389389"/>
                  <a:pt x="387281" y="372833"/>
                  <a:pt x="385587" y="372105"/>
                </a:cubicBezTo>
                <a:lnTo>
                  <a:pt x="303120" y="340134"/>
                </a:lnTo>
                <a:lnTo>
                  <a:pt x="244177" y="412892"/>
                </a:lnTo>
                <a:cubicBezTo>
                  <a:pt x="232704" y="427051"/>
                  <a:pt x="211084" y="427076"/>
                  <a:pt x="199592" y="412892"/>
                </a:cubicBezTo>
                <a:lnTo>
                  <a:pt x="140648" y="340129"/>
                </a:lnTo>
                <a:lnTo>
                  <a:pt x="58181" y="372100"/>
                </a:lnTo>
                <a:cubicBezTo>
                  <a:pt x="55951" y="373054"/>
                  <a:pt x="19288" y="389404"/>
                  <a:pt x="19288" y="432842"/>
                </a:cubicBezTo>
                <a:lnTo>
                  <a:pt x="19288" y="633755"/>
                </a:lnTo>
                <a:cubicBezTo>
                  <a:pt x="19288" y="636689"/>
                  <a:pt x="21679" y="639080"/>
                  <a:pt x="24617" y="639080"/>
                </a:cubicBezTo>
                <a:lnTo>
                  <a:pt x="75399" y="639080"/>
                </a:lnTo>
                <a:lnTo>
                  <a:pt x="75399" y="504626"/>
                </a:lnTo>
                <a:cubicBezTo>
                  <a:pt x="75399" y="499301"/>
                  <a:pt x="79719" y="494982"/>
                  <a:pt x="85044" y="494982"/>
                </a:cubicBezTo>
                <a:cubicBezTo>
                  <a:pt x="90373" y="494982"/>
                  <a:pt x="94693" y="499301"/>
                  <a:pt x="94693" y="504626"/>
                </a:cubicBezTo>
                <a:lnTo>
                  <a:pt x="94693" y="639080"/>
                </a:lnTo>
                <a:lnTo>
                  <a:pt x="199381" y="639080"/>
                </a:lnTo>
                <a:cubicBezTo>
                  <a:pt x="204705" y="639080"/>
                  <a:pt x="209025" y="643399"/>
                  <a:pt x="209025" y="648724"/>
                </a:cubicBezTo>
                <a:cubicBezTo>
                  <a:pt x="209025" y="654054"/>
                  <a:pt x="204705" y="658368"/>
                  <a:pt x="199381" y="658368"/>
                </a:cubicBezTo>
                <a:lnTo>
                  <a:pt x="24617" y="658368"/>
                </a:lnTo>
                <a:cubicBezTo>
                  <a:pt x="11045" y="658368"/>
                  <a:pt x="0" y="647327"/>
                  <a:pt x="0" y="633755"/>
                </a:cubicBezTo>
                <a:lnTo>
                  <a:pt x="0" y="432842"/>
                </a:lnTo>
                <a:cubicBezTo>
                  <a:pt x="0" y="375823"/>
                  <a:pt x="48823" y="355092"/>
                  <a:pt x="50902" y="354238"/>
                </a:cubicBezTo>
                <a:cubicBezTo>
                  <a:pt x="50963" y="354214"/>
                  <a:pt x="51023" y="354188"/>
                  <a:pt x="51083" y="354169"/>
                </a:cubicBezTo>
                <a:lnTo>
                  <a:pt x="166260" y="309514"/>
                </a:lnTo>
                <a:lnTo>
                  <a:pt x="166260" y="283892"/>
                </a:lnTo>
                <a:cubicBezTo>
                  <a:pt x="146102" y="269315"/>
                  <a:pt x="133259" y="247446"/>
                  <a:pt x="130095" y="223029"/>
                </a:cubicBezTo>
                <a:cubicBezTo>
                  <a:pt x="107757" y="221447"/>
                  <a:pt x="91372" y="203334"/>
                  <a:pt x="91372" y="182001"/>
                </a:cubicBezTo>
                <a:cubicBezTo>
                  <a:pt x="91372" y="172473"/>
                  <a:pt x="94874" y="163487"/>
                  <a:pt x="101318" y="156189"/>
                </a:cubicBezTo>
                <a:lnTo>
                  <a:pt x="101318" y="119526"/>
                </a:lnTo>
                <a:cubicBezTo>
                  <a:pt x="101318" y="53620"/>
                  <a:pt x="154932" y="0"/>
                  <a:pt x="220839" y="0"/>
                </a:cubicBezTo>
                <a:close/>
              </a:path>
            </a:pathLst>
          </a:custGeom>
          <a:solidFill>
            <a:schemeClr val="tx2"/>
          </a:solidFill>
          <a:ln w="128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7368C0D1-8A65-3CCC-0D4C-0FE1464979D5}"/>
              </a:ext>
            </a:extLst>
          </p:cNvPr>
          <p:cNvSpPr>
            <a:spLocks noChangeAspect="1"/>
          </p:cNvSpPr>
          <p:nvPr/>
        </p:nvSpPr>
        <p:spPr>
          <a:xfrm>
            <a:off x="1715293" y="2273510"/>
            <a:ext cx="479512" cy="710952"/>
          </a:xfrm>
          <a:custGeom>
            <a:avLst/>
            <a:gdLst>
              <a:gd name="connsiteX0" fmla="*/ 435085 w 444912"/>
              <a:gd name="connsiteY0" fmla="*/ 534401 h 659653"/>
              <a:gd name="connsiteX1" fmla="*/ 425441 w 444912"/>
              <a:gd name="connsiteY1" fmla="*/ 544045 h 659653"/>
              <a:gd name="connsiteX2" fmla="*/ 425441 w 444912"/>
              <a:gd name="connsiteY2" fmla="*/ 634717 h 659653"/>
              <a:gd name="connsiteX3" fmla="*/ 420116 w 444912"/>
              <a:gd name="connsiteY3" fmla="*/ 640042 h 659653"/>
              <a:gd name="connsiteX4" fmla="*/ 368273 w 444912"/>
              <a:gd name="connsiteY4" fmla="*/ 640042 h 659653"/>
              <a:gd name="connsiteX5" fmla="*/ 368273 w 444912"/>
              <a:gd name="connsiteY5" fmla="*/ 450122 h 659653"/>
              <a:gd name="connsiteX6" fmla="*/ 358629 w 444912"/>
              <a:gd name="connsiteY6" fmla="*/ 440478 h 659653"/>
              <a:gd name="connsiteX7" fmla="*/ 348985 w 444912"/>
              <a:gd name="connsiteY7" fmla="*/ 450122 h 659653"/>
              <a:gd name="connsiteX8" fmla="*/ 348985 w 444912"/>
              <a:gd name="connsiteY8" fmla="*/ 640043 h 659653"/>
              <a:gd name="connsiteX9" fmla="*/ 244591 w 444912"/>
              <a:gd name="connsiteY9" fmla="*/ 640043 h 659653"/>
              <a:gd name="connsiteX10" fmla="*/ 274865 w 444912"/>
              <a:gd name="connsiteY10" fmla="*/ 606739 h 659653"/>
              <a:gd name="connsiteX11" fmla="*/ 279036 w 444912"/>
              <a:gd name="connsiteY11" fmla="*/ 592868 h 659653"/>
              <a:gd name="connsiteX12" fmla="*/ 278991 w 444912"/>
              <a:gd name="connsiteY12" fmla="*/ 592575 h 659653"/>
              <a:gd name="connsiteX13" fmla="*/ 250158 w 444912"/>
              <a:gd name="connsiteY13" fmla="*/ 422239 h 659653"/>
              <a:gd name="connsiteX14" fmla="*/ 257926 w 444912"/>
              <a:gd name="connsiteY14" fmla="*/ 410545 h 659653"/>
              <a:gd name="connsiteX15" fmla="*/ 271734 w 444912"/>
              <a:gd name="connsiteY15" fmla="*/ 416532 h 659653"/>
              <a:gd name="connsiteX16" fmla="*/ 286849 w 444912"/>
              <a:gd name="connsiteY16" fmla="*/ 407185 h 659653"/>
              <a:gd name="connsiteX17" fmla="*/ 286849 w 444912"/>
              <a:gd name="connsiteY17" fmla="*/ 407184 h 659653"/>
              <a:gd name="connsiteX18" fmla="*/ 317260 w 444912"/>
              <a:gd name="connsiteY18" fmla="*/ 346233 h 659653"/>
              <a:gd name="connsiteX19" fmla="*/ 386538 w 444912"/>
              <a:gd name="connsiteY19" fmla="*/ 373063 h 659653"/>
              <a:gd name="connsiteX20" fmla="*/ 425438 w 444912"/>
              <a:gd name="connsiteY20" fmla="*/ 433805 h 659653"/>
              <a:gd name="connsiteX21" fmla="*/ 425438 w 444912"/>
              <a:gd name="connsiteY21" fmla="*/ 499038 h 659653"/>
              <a:gd name="connsiteX22" fmla="*/ 435082 w 444912"/>
              <a:gd name="connsiteY22" fmla="*/ 508682 h 659653"/>
              <a:gd name="connsiteX23" fmla="*/ 444726 w 444912"/>
              <a:gd name="connsiteY23" fmla="*/ 499038 h 659653"/>
              <a:gd name="connsiteX24" fmla="*/ 444726 w 444912"/>
              <a:gd name="connsiteY24" fmla="*/ 433805 h 659653"/>
              <a:gd name="connsiteX25" fmla="*/ 393825 w 444912"/>
              <a:gd name="connsiteY25" fmla="*/ 355202 h 659653"/>
              <a:gd name="connsiteX26" fmla="*/ 393641 w 444912"/>
              <a:gd name="connsiteY26" fmla="*/ 355129 h 659653"/>
              <a:gd name="connsiteX27" fmla="*/ 278339 w 444912"/>
              <a:gd name="connsiteY27" fmla="*/ 310476 h 659653"/>
              <a:gd name="connsiteX28" fmla="*/ 278339 w 444912"/>
              <a:gd name="connsiteY28" fmla="*/ 283434 h 659653"/>
              <a:gd name="connsiteX29" fmla="*/ 312538 w 444912"/>
              <a:gd name="connsiteY29" fmla="*/ 223992 h 659653"/>
              <a:gd name="connsiteX30" fmla="*/ 337061 w 444912"/>
              <a:gd name="connsiteY30" fmla="*/ 213989 h 659653"/>
              <a:gd name="connsiteX31" fmla="*/ 351282 w 444912"/>
              <a:gd name="connsiteY31" fmla="*/ 182966 h 659653"/>
              <a:gd name="connsiteX32" fmla="*/ 341333 w 444912"/>
              <a:gd name="connsiteY32" fmla="*/ 156216 h 659653"/>
              <a:gd name="connsiteX33" fmla="*/ 341333 w 444912"/>
              <a:gd name="connsiteY33" fmla="*/ 120490 h 659653"/>
              <a:gd name="connsiteX34" fmla="*/ 221807 w 444912"/>
              <a:gd name="connsiteY34" fmla="*/ 964 h 659653"/>
              <a:gd name="connsiteX35" fmla="*/ 102282 w 444912"/>
              <a:gd name="connsiteY35" fmla="*/ 120490 h 659653"/>
              <a:gd name="connsiteX36" fmla="*/ 102282 w 444912"/>
              <a:gd name="connsiteY36" fmla="*/ 157152 h 659653"/>
              <a:gd name="connsiteX37" fmla="*/ 92339 w 444912"/>
              <a:gd name="connsiteY37" fmla="*/ 182965 h 659653"/>
              <a:gd name="connsiteX38" fmla="*/ 106559 w 444912"/>
              <a:gd name="connsiteY38" fmla="*/ 213991 h 659653"/>
              <a:gd name="connsiteX39" fmla="*/ 131069 w 444912"/>
              <a:gd name="connsiteY39" fmla="*/ 223989 h 659653"/>
              <a:gd name="connsiteX40" fmla="*/ 167224 w 444912"/>
              <a:gd name="connsiteY40" fmla="*/ 284861 h 659653"/>
              <a:gd name="connsiteX41" fmla="*/ 167224 w 444912"/>
              <a:gd name="connsiteY41" fmla="*/ 310476 h 659653"/>
              <a:gd name="connsiteX42" fmla="*/ 52047 w 444912"/>
              <a:gd name="connsiteY42" fmla="*/ 355128 h 659653"/>
              <a:gd name="connsiteX43" fmla="*/ 51866 w 444912"/>
              <a:gd name="connsiteY43" fmla="*/ 355200 h 659653"/>
              <a:gd name="connsiteX44" fmla="*/ 964 w 444912"/>
              <a:gd name="connsiteY44" fmla="*/ 433803 h 659653"/>
              <a:gd name="connsiteX45" fmla="*/ 964 w 444912"/>
              <a:gd name="connsiteY45" fmla="*/ 634714 h 659653"/>
              <a:gd name="connsiteX46" fmla="*/ 25579 w 444912"/>
              <a:gd name="connsiteY46" fmla="*/ 659329 h 659653"/>
              <a:gd name="connsiteX47" fmla="*/ 117463 w 444912"/>
              <a:gd name="connsiteY47" fmla="*/ 659329 h 659653"/>
              <a:gd name="connsiteX48" fmla="*/ 127107 w 444912"/>
              <a:gd name="connsiteY48" fmla="*/ 649685 h 659653"/>
              <a:gd name="connsiteX49" fmla="*/ 117463 w 444912"/>
              <a:gd name="connsiteY49" fmla="*/ 640040 h 659653"/>
              <a:gd name="connsiteX50" fmla="*/ 96713 w 444912"/>
              <a:gd name="connsiteY50" fmla="*/ 640040 h 659653"/>
              <a:gd name="connsiteX51" fmla="*/ 96713 w 444912"/>
              <a:gd name="connsiteY51" fmla="*/ 450122 h 659653"/>
              <a:gd name="connsiteX52" fmla="*/ 87069 w 444912"/>
              <a:gd name="connsiteY52" fmla="*/ 440478 h 659653"/>
              <a:gd name="connsiteX53" fmla="*/ 77425 w 444912"/>
              <a:gd name="connsiteY53" fmla="*/ 450122 h 659653"/>
              <a:gd name="connsiteX54" fmla="*/ 77425 w 444912"/>
              <a:gd name="connsiteY54" fmla="*/ 640043 h 659653"/>
              <a:gd name="connsiteX55" fmla="*/ 25580 w 444912"/>
              <a:gd name="connsiteY55" fmla="*/ 640043 h 659653"/>
              <a:gd name="connsiteX56" fmla="*/ 20255 w 444912"/>
              <a:gd name="connsiteY56" fmla="*/ 634718 h 659653"/>
              <a:gd name="connsiteX57" fmla="*/ 20255 w 444912"/>
              <a:gd name="connsiteY57" fmla="*/ 433804 h 659653"/>
              <a:gd name="connsiteX58" fmla="*/ 59144 w 444912"/>
              <a:gd name="connsiteY58" fmla="*/ 373067 h 659653"/>
              <a:gd name="connsiteX59" fmla="*/ 128368 w 444912"/>
              <a:gd name="connsiteY59" fmla="*/ 346231 h 659653"/>
              <a:gd name="connsiteX60" fmla="*/ 158781 w 444912"/>
              <a:gd name="connsiteY60" fmla="*/ 407184 h 659653"/>
              <a:gd name="connsiteX61" fmla="*/ 173898 w 444912"/>
              <a:gd name="connsiteY61" fmla="*/ 416532 h 659653"/>
              <a:gd name="connsiteX62" fmla="*/ 187706 w 444912"/>
              <a:gd name="connsiteY62" fmla="*/ 410545 h 659653"/>
              <a:gd name="connsiteX63" fmla="*/ 195474 w 444912"/>
              <a:gd name="connsiteY63" fmla="*/ 422239 h 659653"/>
              <a:gd name="connsiteX64" fmla="*/ 166643 w 444912"/>
              <a:gd name="connsiteY64" fmla="*/ 592576 h 659653"/>
              <a:gd name="connsiteX65" fmla="*/ 166598 w 444912"/>
              <a:gd name="connsiteY65" fmla="*/ 592867 h 659653"/>
              <a:gd name="connsiteX66" fmla="*/ 170769 w 444912"/>
              <a:gd name="connsiteY66" fmla="*/ 606740 h 659653"/>
              <a:gd name="connsiteX67" fmla="*/ 201043 w 444912"/>
              <a:gd name="connsiteY67" fmla="*/ 640044 h 659653"/>
              <a:gd name="connsiteX68" fmla="*/ 162473 w 444912"/>
              <a:gd name="connsiteY68" fmla="*/ 640044 h 659653"/>
              <a:gd name="connsiteX69" fmla="*/ 152829 w 444912"/>
              <a:gd name="connsiteY69" fmla="*/ 649688 h 659653"/>
              <a:gd name="connsiteX70" fmla="*/ 162473 w 444912"/>
              <a:gd name="connsiteY70" fmla="*/ 659332 h 659653"/>
              <a:gd name="connsiteX71" fmla="*/ 420117 w 444912"/>
              <a:gd name="connsiteY71" fmla="*/ 659332 h 659653"/>
              <a:gd name="connsiteX72" fmla="*/ 444731 w 444912"/>
              <a:gd name="connsiteY72" fmla="*/ 634718 h 659653"/>
              <a:gd name="connsiteX73" fmla="*/ 444731 w 444912"/>
              <a:gd name="connsiteY73" fmla="*/ 544046 h 659653"/>
              <a:gd name="connsiteX74" fmla="*/ 435085 w 444912"/>
              <a:gd name="connsiteY74" fmla="*/ 534401 h 659653"/>
              <a:gd name="connsiteX75" fmla="*/ 299195 w 444912"/>
              <a:gd name="connsiteY75" fmla="*/ 339238 h 659653"/>
              <a:gd name="connsiteX76" fmla="*/ 270843 w 444912"/>
              <a:gd name="connsiteY76" fmla="*/ 396061 h 659653"/>
              <a:gd name="connsiteX77" fmla="*/ 236745 w 444912"/>
              <a:gd name="connsiteY77" fmla="*/ 371843 h 659653"/>
              <a:gd name="connsiteX78" fmla="*/ 271766 w 444912"/>
              <a:gd name="connsiteY78" fmla="*/ 328616 h 659653"/>
              <a:gd name="connsiteX79" fmla="*/ 299195 w 444912"/>
              <a:gd name="connsiteY79" fmla="*/ 339238 h 659653"/>
              <a:gd name="connsiteX80" fmla="*/ 242189 w 444912"/>
              <a:gd name="connsiteY80" fmla="*/ 399371 h 659653"/>
              <a:gd name="connsiteX81" fmla="*/ 234837 w 444912"/>
              <a:gd name="connsiteY81" fmla="*/ 410438 h 659653"/>
              <a:gd name="connsiteX82" fmla="*/ 210787 w 444912"/>
              <a:gd name="connsiteY82" fmla="*/ 410438 h 659653"/>
              <a:gd name="connsiteX83" fmla="*/ 203434 w 444912"/>
              <a:gd name="connsiteY83" fmla="*/ 399371 h 659653"/>
              <a:gd name="connsiteX84" fmla="*/ 222813 w 444912"/>
              <a:gd name="connsiteY84" fmla="*/ 385608 h 659653"/>
              <a:gd name="connsiteX85" fmla="*/ 242189 w 444912"/>
              <a:gd name="connsiteY85" fmla="*/ 399371 h 659653"/>
              <a:gd name="connsiteX86" fmla="*/ 186511 w 444912"/>
              <a:gd name="connsiteY86" fmla="*/ 313588 h 659653"/>
              <a:gd name="connsiteX87" fmla="*/ 186511 w 444912"/>
              <a:gd name="connsiteY87" fmla="*/ 295539 h 659653"/>
              <a:gd name="connsiteX88" fmla="*/ 222978 w 444912"/>
              <a:gd name="connsiteY88" fmla="*/ 302452 h 659653"/>
              <a:gd name="connsiteX89" fmla="*/ 259050 w 444912"/>
              <a:gd name="connsiteY89" fmla="*/ 294935 h 659653"/>
              <a:gd name="connsiteX90" fmla="*/ 259050 w 444912"/>
              <a:gd name="connsiteY90" fmla="*/ 313666 h 659653"/>
              <a:gd name="connsiteX91" fmla="*/ 222813 w 444912"/>
              <a:gd name="connsiteY91" fmla="*/ 358395 h 659653"/>
              <a:gd name="connsiteX92" fmla="*/ 186511 w 444912"/>
              <a:gd name="connsiteY92" fmla="*/ 313588 h 659653"/>
              <a:gd name="connsiteX93" fmla="*/ 331992 w 444912"/>
              <a:gd name="connsiteY93" fmla="*/ 182966 h 659653"/>
              <a:gd name="connsiteX94" fmla="*/ 324484 w 444912"/>
              <a:gd name="connsiteY94" fmla="*/ 199365 h 659653"/>
              <a:gd name="connsiteX95" fmla="*/ 313347 w 444912"/>
              <a:gd name="connsiteY95" fmla="*/ 204491 h 659653"/>
              <a:gd name="connsiteX96" fmla="*/ 313347 w 444912"/>
              <a:gd name="connsiteY96" fmla="*/ 161444 h 659653"/>
              <a:gd name="connsiteX97" fmla="*/ 331992 w 444912"/>
              <a:gd name="connsiteY97" fmla="*/ 182966 h 659653"/>
              <a:gd name="connsiteX98" fmla="*/ 130272 w 444912"/>
              <a:gd name="connsiteY98" fmla="*/ 204491 h 659653"/>
              <a:gd name="connsiteX99" fmla="*/ 111627 w 444912"/>
              <a:gd name="connsiteY99" fmla="*/ 182965 h 659653"/>
              <a:gd name="connsiteX100" fmla="*/ 130272 w 444912"/>
              <a:gd name="connsiteY100" fmla="*/ 161929 h 659653"/>
              <a:gd name="connsiteX101" fmla="*/ 130272 w 444912"/>
              <a:gd name="connsiteY101" fmla="*/ 204491 h 659653"/>
              <a:gd name="connsiteX102" fmla="*/ 130790 w 444912"/>
              <a:gd name="connsiteY102" fmla="*/ 142277 h 659653"/>
              <a:gd name="connsiteX103" fmla="*/ 121573 w 444912"/>
              <a:gd name="connsiteY103" fmla="*/ 144354 h 659653"/>
              <a:gd name="connsiteX104" fmla="*/ 121573 w 444912"/>
              <a:gd name="connsiteY104" fmla="*/ 120490 h 659653"/>
              <a:gd name="connsiteX105" fmla="*/ 221808 w 444912"/>
              <a:gd name="connsiteY105" fmla="*/ 20254 h 659653"/>
              <a:gd name="connsiteX106" fmla="*/ 322044 w 444912"/>
              <a:gd name="connsiteY106" fmla="*/ 120490 h 659653"/>
              <a:gd name="connsiteX107" fmla="*/ 322044 w 444912"/>
              <a:gd name="connsiteY107" fmla="*/ 143691 h 659653"/>
              <a:gd name="connsiteX108" fmla="*/ 313348 w 444912"/>
              <a:gd name="connsiteY108" fmla="*/ 142011 h 659653"/>
              <a:gd name="connsiteX109" fmla="*/ 282986 w 444912"/>
              <a:gd name="connsiteY109" fmla="*/ 101771 h 659653"/>
              <a:gd name="connsiteX110" fmla="*/ 261079 w 444912"/>
              <a:gd name="connsiteY110" fmla="*/ 99100 h 659653"/>
              <a:gd name="connsiteX111" fmla="*/ 148674 w 444912"/>
              <a:gd name="connsiteY111" fmla="*/ 129359 h 659653"/>
              <a:gd name="connsiteX112" fmla="*/ 130790 w 444912"/>
              <a:gd name="connsiteY112" fmla="*/ 142277 h 659653"/>
              <a:gd name="connsiteX113" fmla="*/ 149561 w 444912"/>
              <a:gd name="connsiteY113" fmla="*/ 212085 h 659653"/>
              <a:gd name="connsiteX114" fmla="*/ 149561 w 444912"/>
              <a:gd name="connsiteY114" fmla="*/ 151916 h 659653"/>
              <a:gd name="connsiteX115" fmla="*/ 149561 w 444912"/>
              <a:gd name="connsiteY115" fmla="*/ 148746 h 659653"/>
              <a:gd name="connsiteX116" fmla="*/ 270098 w 444912"/>
              <a:gd name="connsiteY116" fmla="*/ 116235 h 659653"/>
              <a:gd name="connsiteX117" fmla="*/ 294059 w 444912"/>
              <a:gd name="connsiteY117" fmla="*/ 142080 h 659653"/>
              <a:gd name="connsiteX118" fmla="*/ 294059 w 444912"/>
              <a:gd name="connsiteY118" fmla="*/ 212083 h 659653"/>
              <a:gd name="connsiteX119" fmla="*/ 222980 w 444912"/>
              <a:gd name="connsiteY119" fmla="*/ 283161 h 659653"/>
              <a:gd name="connsiteX120" fmla="*/ 149561 w 444912"/>
              <a:gd name="connsiteY120" fmla="*/ 212085 h 659653"/>
              <a:gd name="connsiteX121" fmla="*/ 174784 w 444912"/>
              <a:gd name="connsiteY121" fmla="*/ 396061 h 659653"/>
              <a:gd name="connsiteX122" fmla="*/ 146432 w 444912"/>
              <a:gd name="connsiteY122" fmla="*/ 339238 h 659653"/>
              <a:gd name="connsiteX123" fmla="*/ 173812 w 444912"/>
              <a:gd name="connsiteY123" fmla="*/ 328634 h 659653"/>
              <a:gd name="connsiteX124" fmla="*/ 208840 w 444912"/>
              <a:gd name="connsiteY124" fmla="*/ 371871 h 659653"/>
              <a:gd name="connsiteX125" fmla="*/ 174784 w 444912"/>
              <a:gd name="connsiteY125" fmla="*/ 396061 h 659653"/>
              <a:gd name="connsiteX126" fmla="*/ 185849 w 444912"/>
              <a:gd name="connsiteY126" fmla="*/ 594655 h 659653"/>
              <a:gd name="connsiteX127" fmla="*/ 213764 w 444912"/>
              <a:gd name="connsiteY127" fmla="*/ 429725 h 659653"/>
              <a:gd name="connsiteX128" fmla="*/ 231857 w 444912"/>
              <a:gd name="connsiteY128" fmla="*/ 429725 h 659653"/>
              <a:gd name="connsiteX129" fmla="*/ 259772 w 444912"/>
              <a:gd name="connsiteY129" fmla="*/ 594655 h 659653"/>
              <a:gd name="connsiteX130" fmla="*/ 222811 w 444912"/>
              <a:gd name="connsiteY130" fmla="*/ 635319 h 659653"/>
              <a:gd name="connsiteX131" fmla="*/ 185849 w 444912"/>
              <a:gd name="connsiteY131" fmla="*/ 594655 h 65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</a:cxnLst>
            <a:rect l="l" t="t" r="r" b="b"/>
            <a:pathLst>
              <a:path w="444912" h="659653">
                <a:moveTo>
                  <a:pt x="435085" y="534401"/>
                </a:moveTo>
                <a:cubicBezTo>
                  <a:pt x="429759" y="534401"/>
                  <a:pt x="425441" y="538719"/>
                  <a:pt x="425441" y="544045"/>
                </a:cubicBezTo>
                <a:lnTo>
                  <a:pt x="425441" y="634717"/>
                </a:lnTo>
                <a:cubicBezTo>
                  <a:pt x="425441" y="637653"/>
                  <a:pt x="423052" y="640042"/>
                  <a:pt x="420116" y="640042"/>
                </a:cubicBezTo>
                <a:lnTo>
                  <a:pt x="368273" y="640042"/>
                </a:lnTo>
                <a:lnTo>
                  <a:pt x="368273" y="450122"/>
                </a:lnTo>
                <a:cubicBezTo>
                  <a:pt x="368273" y="444796"/>
                  <a:pt x="363955" y="440478"/>
                  <a:pt x="358629" y="440478"/>
                </a:cubicBezTo>
                <a:cubicBezTo>
                  <a:pt x="353303" y="440478"/>
                  <a:pt x="348985" y="444796"/>
                  <a:pt x="348985" y="450122"/>
                </a:cubicBezTo>
                <a:lnTo>
                  <a:pt x="348985" y="640043"/>
                </a:lnTo>
                <a:lnTo>
                  <a:pt x="244591" y="640043"/>
                </a:lnTo>
                <a:lnTo>
                  <a:pt x="274865" y="606739"/>
                </a:lnTo>
                <a:cubicBezTo>
                  <a:pt x="278172" y="603100"/>
                  <a:pt x="279732" y="597916"/>
                  <a:pt x="279036" y="592868"/>
                </a:cubicBezTo>
                <a:cubicBezTo>
                  <a:pt x="279023" y="592770"/>
                  <a:pt x="279008" y="592673"/>
                  <a:pt x="278991" y="592575"/>
                </a:cubicBezTo>
                <a:lnTo>
                  <a:pt x="250158" y="422239"/>
                </a:lnTo>
                <a:lnTo>
                  <a:pt x="257926" y="410545"/>
                </a:lnTo>
                <a:cubicBezTo>
                  <a:pt x="262221" y="413595"/>
                  <a:pt x="265529" y="416532"/>
                  <a:pt x="271734" y="416532"/>
                </a:cubicBezTo>
                <a:cubicBezTo>
                  <a:pt x="278045" y="416532"/>
                  <a:pt x="283946" y="413000"/>
                  <a:pt x="286849" y="407185"/>
                </a:cubicBezTo>
                <a:lnTo>
                  <a:pt x="286849" y="407184"/>
                </a:lnTo>
                <a:lnTo>
                  <a:pt x="317260" y="346233"/>
                </a:lnTo>
                <a:lnTo>
                  <a:pt x="386538" y="373063"/>
                </a:lnTo>
                <a:cubicBezTo>
                  <a:pt x="389044" y="374138"/>
                  <a:pt x="425438" y="390528"/>
                  <a:pt x="425438" y="433805"/>
                </a:cubicBezTo>
                <a:lnTo>
                  <a:pt x="425438" y="499038"/>
                </a:lnTo>
                <a:cubicBezTo>
                  <a:pt x="425437" y="504363"/>
                  <a:pt x="429755" y="508682"/>
                  <a:pt x="435082" y="508682"/>
                </a:cubicBezTo>
                <a:cubicBezTo>
                  <a:pt x="440408" y="508682"/>
                  <a:pt x="444726" y="504364"/>
                  <a:pt x="444726" y="499038"/>
                </a:cubicBezTo>
                <a:lnTo>
                  <a:pt x="444726" y="433805"/>
                </a:lnTo>
                <a:cubicBezTo>
                  <a:pt x="444726" y="376785"/>
                  <a:pt x="395903" y="356058"/>
                  <a:pt x="393825" y="355202"/>
                </a:cubicBezTo>
                <a:cubicBezTo>
                  <a:pt x="393765" y="355177"/>
                  <a:pt x="393703" y="355152"/>
                  <a:pt x="393641" y="355129"/>
                </a:cubicBezTo>
                <a:lnTo>
                  <a:pt x="278339" y="310476"/>
                </a:lnTo>
                <a:lnTo>
                  <a:pt x="278339" y="283434"/>
                </a:lnTo>
                <a:cubicBezTo>
                  <a:pt x="296653" y="269192"/>
                  <a:pt x="309351" y="248079"/>
                  <a:pt x="312538" y="223992"/>
                </a:cubicBezTo>
                <a:cubicBezTo>
                  <a:pt x="321669" y="223349"/>
                  <a:pt x="330142" y="219939"/>
                  <a:pt x="337061" y="213989"/>
                </a:cubicBezTo>
                <a:cubicBezTo>
                  <a:pt x="346097" y="206218"/>
                  <a:pt x="351282" y="194909"/>
                  <a:pt x="351282" y="182966"/>
                </a:cubicBezTo>
                <a:cubicBezTo>
                  <a:pt x="351282" y="173054"/>
                  <a:pt x="347706" y="163590"/>
                  <a:pt x="341333" y="156216"/>
                </a:cubicBezTo>
                <a:lnTo>
                  <a:pt x="341333" y="120490"/>
                </a:lnTo>
                <a:cubicBezTo>
                  <a:pt x="341332" y="54584"/>
                  <a:pt x="287713" y="964"/>
                  <a:pt x="221807" y="964"/>
                </a:cubicBezTo>
                <a:cubicBezTo>
                  <a:pt x="155901" y="964"/>
                  <a:pt x="102282" y="54584"/>
                  <a:pt x="102282" y="120490"/>
                </a:cubicBezTo>
                <a:lnTo>
                  <a:pt x="102282" y="157152"/>
                </a:lnTo>
                <a:cubicBezTo>
                  <a:pt x="95841" y="164452"/>
                  <a:pt x="92339" y="173438"/>
                  <a:pt x="92339" y="182965"/>
                </a:cubicBezTo>
                <a:cubicBezTo>
                  <a:pt x="92339" y="194912"/>
                  <a:pt x="97521" y="206220"/>
                  <a:pt x="106559" y="213991"/>
                </a:cubicBezTo>
                <a:cubicBezTo>
                  <a:pt x="113473" y="219939"/>
                  <a:pt x="121941" y="223345"/>
                  <a:pt x="131069" y="223989"/>
                </a:cubicBezTo>
                <a:cubicBezTo>
                  <a:pt x="134283" y="248527"/>
                  <a:pt x="147351" y="270427"/>
                  <a:pt x="167224" y="284861"/>
                </a:cubicBezTo>
                <a:lnTo>
                  <a:pt x="167224" y="310476"/>
                </a:lnTo>
                <a:lnTo>
                  <a:pt x="52047" y="355128"/>
                </a:lnTo>
                <a:cubicBezTo>
                  <a:pt x="51987" y="355151"/>
                  <a:pt x="51926" y="355175"/>
                  <a:pt x="51866" y="355200"/>
                </a:cubicBezTo>
                <a:cubicBezTo>
                  <a:pt x="49787" y="356055"/>
                  <a:pt x="964" y="376782"/>
                  <a:pt x="964" y="433803"/>
                </a:cubicBezTo>
                <a:lnTo>
                  <a:pt x="964" y="634714"/>
                </a:lnTo>
                <a:cubicBezTo>
                  <a:pt x="964" y="648287"/>
                  <a:pt x="12006" y="659329"/>
                  <a:pt x="25579" y="659329"/>
                </a:cubicBezTo>
                <a:lnTo>
                  <a:pt x="117463" y="659329"/>
                </a:lnTo>
                <a:cubicBezTo>
                  <a:pt x="122789" y="659329"/>
                  <a:pt x="127107" y="655011"/>
                  <a:pt x="127107" y="649685"/>
                </a:cubicBezTo>
                <a:cubicBezTo>
                  <a:pt x="127107" y="644358"/>
                  <a:pt x="122789" y="640040"/>
                  <a:pt x="117463" y="640040"/>
                </a:cubicBezTo>
                <a:lnTo>
                  <a:pt x="96713" y="640040"/>
                </a:lnTo>
                <a:lnTo>
                  <a:pt x="96713" y="450122"/>
                </a:lnTo>
                <a:cubicBezTo>
                  <a:pt x="96713" y="444796"/>
                  <a:pt x="92395" y="440478"/>
                  <a:pt x="87069" y="440478"/>
                </a:cubicBezTo>
                <a:cubicBezTo>
                  <a:pt x="81743" y="440478"/>
                  <a:pt x="77425" y="444796"/>
                  <a:pt x="77425" y="450122"/>
                </a:cubicBezTo>
                <a:lnTo>
                  <a:pt x="77425" y="640043"/>
                </a:lnTo>
                <a:lnTo>
                  <a:pt x="25580" y="640043"/>
                </a:lnTo>
                <a:cubicBezTo>
                  <a:pt x="22644" y="640043"/>
                  <a:pt x="20255" y="637654"/>
                  <a:pt x="20255" y="634718"/>
                </a:cubicBezTo>
                <a:lnTo>
                  <a:pt x="20255" y="433804"/>
                </a:lnTo>
                <a:cubicBezTo>
                  <a:pt x="20255" y="390381"/>
                  <a:pt x="56894" y="374029"/>
                  <a:pt x="59144" y="373067"/>
                </a:cubicBezTo>
                <a:lnTo>
                  <a:pt x="128368" y="346231"/>
                </a:lnTo>
                <a:lnTo>
                  <a:pt x="158781" y="407184"/>
                </a:lnTo>
                <a:cubicBezTo>
                  <a:pt x="161691" y="413013"/>
                  <a:pt x="167600" y="416532"/>
                  <a:pt x="173898" y="416532"/>
                </a:cubicBezTo>
                <a:cubicBezTo>
                  <a:pt x="180071" y="416532"/>
                  <a:pt x="183348" y="413640"/>
                  <a:pt x="187706" y="410545"/>
                </a:cubicBezTo>
                <a:lnTo>
                  <a:pt x="195474" y="422239"/>
                </a:lnTo>
                <a:lnTo>
                  <a:pt x="166643" y="592576"/>
                </a:lnTo>
                <a:cubicBezTo>
                  <a:pt x="166626" y="592673"/>
                  <a:pt x="166612" y="592769"/>
                  <a:pt x="166598" y="592867"/>
                </a:cubicBezTo>
                <a:cubicBezTo>
                  <a:pt x="165901" y="597913"/>
                  <a:pt x="167461" y="603099"/>
                  <a:pt x="170769" y="606740"/>
                </a:cubicBezTo>
                <a:lnTo>
                  <a:pt x="201043" y="640044"/>
                </a:lnTo>
                <a:lnTo>
                  <a:pt x="162473" y="640044"/>
                </a:lnTo>
                <a:cubicBezTo>
                  <a:pt x="157147" y="640044"/>
                  <a:pt x="152829" y="644362"/>
                  <a:pt x="152829" y="649688"/>
                </a:cubicBezTo>
                <a:cubicBezTo>
                  <a:pt x="152829" y="655014"/>
                  <a:pt x="157147" y="659332"/>
                  <a:pt x="162473" y="659332"/>
                </a:cubicBezTo>
                <a:lnTo>
                  <a:pt x="420117" y="659332"/>
                </a:lnTo>
                <a:cubicBezTo>
                  <a:pt x="433690" y="659332"/>
                  <a:pt x="444731" y="648289"/>
                  <a:pt x="444731" y="634718"/>
                </a:cubicBezTo>
                <a:lnTo>
                  <a:pt x="444731" y="544046"/>
                </a:lnTo>
                <a:cubicBezTo>
                  <a:pt x="444729" y="538719"/>
                  <a:pt x="440411" y="534401"/>
                  <a:pt x="435085" y="534401"/>
                </a:cubicBezTo>
                <a:close/>
                <a:moveTo>
                  <a:pt x="299195" y="339238"/>
                </a:moveTo>
                <a:lnTo>
                  <a:pt x="270843" y="396061"/>
                </a:lnTo>
                <a:cubicBezTo>
                  <a:pt x="270138" y="395561"/>
                  <a:pt x="255112" y="384886"/>
                  <a:pt x="236745" y="371843"/>
                </a:cubicBezTo>
                <a:cubicBezTo>
                  <a:pt x="244715" y="362005"/>
                  <a:pt x="235391" y="373513"/>
                  <a:pt x="271766" y="328616"/>
                </a:cubicBezTo>
                <a:lnTo>
                  <a:pt x="299195" y="339238"/>
                </a:lnTo>
                <a:close/>
                <a:moveTo>
                  <a:pt x="242189" y="399371"/>
                </a:moveTo>
                <a:lnTo>
                  <a:pt x="234837" y="410438"/>
                </a:lnTo>
                <a:lnTo>
                  <a:pt x="210787" y="410438"/>
                </a:lnTo>
                <a:lnTo>
                  <a:pt x="203434" y="399371"/>
                </a:lnTo>
                <a:lnTo>
                  <a:pt x="222813" y="385608"/>
                </a:lnTo>
                <a:lnTo>
                  <a:pt x="242189" y="399371"/>
                </a:lnTo>
                <a:close/>
                <a:moveTo>
                  <a:pt x="186511" y="313588"/>
                </a:moveTo>
                <a:lnTo>
                  <a:pt x="186511" y="295539"/>
                </a:lnTo>
                <a:cubicBezTo>
                  <a:pt x="198228" y="300262"/>
                  <a:pt x="210750" y="302452"/>
                  <a:pt x="222978" y="302452"/>
                </a:cubicBezTo>
                <a:cubicBezTo>
                  <a:pt x="235622" y="302452"/>
                  <a:pt x="248022" y="299757"/>
                  <a:pt x="259050" y="294935"/>
                </a:cubicBezTo>
                <a:lnTo>
                  <a:pt x="259050" y="313666"/>
                </a:lnTo>
                <a:lnTo>
                  <a:pt x="222813" y="358395"/>
                </a:lnTo>
                <a:lnTo>
                  <a:pt x="186511" y="313588"/>
                </a:lnTo>
                <a:close/>
                <a:moveTo>
                  <a:pt x="331992" y="182966"/>
                </a:moveTo>
                <a:cubicBezTo>
                  <a:pt x="331991" y="189283"/>
                  <a:pt x="329255" y="195261"/>
                  <a:pt x="324484" y="199365"/>
                </a:cubicBezTo>
                <a:cubicBezTo>
                  <a:pt x="321330" y="202078"/>
                  <a:pt x="317520" y="203812"/>
                  <a:pt x="313347" y="204491"/>
                </a:cubicBezTo>
                <a:lnTo>
                  <a:pt x="313347" y="161444"/>
                </a:lnTo>
                <a:cubicBezTo>
                  <a:pt x="324431" y="163244"/>
                  <a:pt x="331992" y="172438"/>
                  <a:pt x="331992" y="182966"/>
                </a:cubicBezTo>
                <a:close/>
                <a:moveTo>
                  <a:pt x="130272" y="204491"/>
                </a:moveTo>
                <a:cubicBezTo>
                  <a:pt x="119062" y="202672"/>
                  <a:pt x="111627" y="193403"/>
                  <a:pt x="111627" y="182965"/>
                </a:cubicBezTo>
                <a:cubicBezTo>
                  <a:pt x="111627" y="172654"/>
                  <a:pt x="120174" y="164263"/>
                  <a:pt x="130272" y="161929"/>
                </a:cubicBezTo>
                <a:lnTo>
                  <a:pt x="130272" y="204491"/>
                </a:lnTo>
                <a:close/>
                <a:moveTo>
                  <a:pt x="130790" y="142277"/>
                </a:moveTo>
                <a:cubicBezTo>
                  <a:pt x="127718" y="142629"/>
                  <a:pt x="124198" y="143461"/>
                  <a:pt x="121573" y="144354"/>
                </a:cubicBezTo>
                <a:lnTo>
                  <a:pt x="121573" y="120490"/>
                </a:lnTo>
                <a:cubicBezTo>
                  <a:pt x="121573" y="65220"/>
                  <a:pt x="166538" y="20254"/>
                  <a:pt x="221808" y="20254"/>
                </a:cubicBezTo>
                <a:cubicBezTo>
                  <a:pt x="277079" y="20254"/>
                  <a:pt x="322044" y="65220"/>
                  <a:pt x="322044" y="120490"/>
                </a:cubicBezTo>
                <a:lnTo>
                  <a:pt x="322044" y="143691"/>
                </a:lnTo>
                <a:cubicBezTo>
                  <a:pt x="319240" y="142839"/>
                  <a:pt x="316333" y="142276"/>
                  <a:pt x="313348" y="142011"/>
                </a:cubicBezTo>
                <a:cubicBezTo>
                  <a:pt x="313348" y="132705"/>
                  <a:pt x="313429" y="134500"/>
                  <a:pt x="282986" y="101771"/>
                </a:cubicBezTo>
                <a:cubicBezTo>
                  <a:pt x="277388" y="95755"/>
                  <a:pt x="268127" y="94495"/>
                  <a:pt x="261079" y="99100"/>
                </a:cubicBezTo>
                <a:cubicBezTo>
                  <a:pt x="227479" y="121048"/>
                  <a:pt x="186492" y="132075"/>
                  <a:pt x="148674" y="129359"/>
                </a:cubicBezTo>
                <a:cubicBezTo>
                  <a:pt x="140379" y="128738"/>
                  <a:pt x="132823" y="134202"/>
                  <a:pt x="130790" y="142277"/>
                </a:cubicBezTo>
                <a:close/>
                <a:moveTo>
                  <a:pt x="149561" y="212085"/>
                </a:moveTo>
                <a:lnTo>
                  <a:pt x="149561" y="151916"/>
                </a:lnTo>
                <a:lnTo>
                  <a:pt x="149561" y="148746"/>
                </a:lnTo>
                <a:cubicBezTo>
                  <a:pt x="191192" y="151184"/>
                  <a:pt x="234838" y="138817"/>
                  <a:pt x="270098" y="116235"/>
                </a:cubicBezTo>
                <a:cubicBezTo>
                  <a:pt x="284060" y="131226"/>
                  <a:pt x="291621" y="139089"/>
                  <a:pt x="294059" y="142080"/>
                </a:cubicBezTo>
                <a:cubicBezTo>
                  <a:pt x="294059" y="149646"/>
                  <a:pt x="294059" y="203423"/>
                  <a:pt x="294059" y="212083"/>
                </a:cubicBezTo>
                <a:cubicBezTo>
                  <a:pt x="294059" y="251234"/>
                  <a:pt x="262136" y="283161"/>
                  <a:pt x="222980" y="283161"/>
                </a:cubicBezTo>
                <a:cubicBezTo>
                  <a:pt x="179011" y="283163"/>
                  <a:pt x="149561" y="249053"/>
                  <a:pt x="149561" y="212085"/>
                </a:cubicBezTo>
                <a:close/>
                <a:moveTo>
                  <a:pt x="174784" y="396061"/>
                </a:moveTo>
                <a:lnTo>
                  <a:pt x="146432" y="339238"/>
                </a:lnTo>
                <a:lnTo>
                  <a:pt x="173812" y="328634"/>
                </a:lnTo>
                <a:lnTo>
                  <a:pt x="208840" y="371871"/>
                </a:lnTo>
                <a:cubicBezTo>
                  <a:pt x="191027" y="384520"/>
                  <a:pt x="176400" y="394913"/>
                  <a:pt x="174784" y="396061"/>
                </a:cubicBezTo>
                <a:close/>
                <a:moveTo>
                  <a:pt x="185849" y="594655"/>
                </a:moveTo>
                <a:lnTo>
                  <a:pt x="213764" y="429725"/>
                </a:lnTo>
                <a:lnTo>
                  <a:pt x="231857" y="429725"/>
                </a:lnTo>
                <a:lnTo>
                  <a:pt x="259772" y="594655"/>
                </a:lnTo>
                <a:lnTo>
                  <a:pt x="222811" y="635319"/>
                </a:lnTo>
                <a:lnTo>
                  <a:pt x="185849" y="594655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6E06BB2C-9A00-A6E3-2CD8-623AF8E017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4143266"/>
              </p:ext>
            </p:extLst>
          </p:nvPr>
        </p:nvGraphicFramePr>
        <p:xfrm>
          <a:off x="609600" y="3429000"/>
          <a:ext cx="11155680" cy="19515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88920">
                  <a:extLst>
                    <a:ext uri="{9D8B030D-6E8A-4147-A177-3AD203B41FA5}">
                      <a16:colId xmlns:a16="http://schemas.microsoft.com/office/drawing/2014/main" val="4292488666"/>
                    </a:ext>
                  </a:extLst>
                </a:gridCol>
                <a:gridCol w="2788920">
                  <a:extLst>
                    <a:ext uri="{9D8B030D-6E8A-4147-A177-3AD203B41FA5}">
                      <a16:colId xmlns:a16="http://schemas.microsoft.com/office/drawing/2014/main" val="2172298105"/>
                    </a:ext>
                  </a:extLst>
                </a:gridCol>
                <a:gridCol w="2788920">
                  <a:extLst>
                    <a:ext uri="{9D8B030D-6E8A-4147-A177-3AD203B41FA5}">
                      <a16:colId xmlns:a16="http://schemas.microsoft.com/office/drawing/2014/main" val="3299984185"/>
                    </a:ext>
                  </a:extLst>
                </a:gridCol>
                <a:gridCol w="2788920">
                  <a:extLst>
                    <a:ext uri="{9D8B030D-6E8A-4147-A177-3AD203B41FA5}">
                      <a16:colId xmlns:a16="http://schemas.microsoft.com/office/drawing/2014/main" val="3094742885"/>
                    </a:ext>
                  </a:extLst>
                </a:gridCol>
              </a:tblGrid>
              <a:tr h="487892">
                <a:tc>
                  <a:txBody>
                    <a:bodyPr/>
                    <a:lstStyle/>
                    <a:p>
                      <a:pPr algn="r"/>
                      <a:r>
                        <a:rPr lang="en-US" sz="1600">
                          <a:solidFill>
                            <a:schemeClr val="tx2"/>
                          </a:solidFill>
                        </a:rPr>
                        <a:t>Stakeholde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chemeClr val="tx2"/>
                          </a:solidFill>
                        </a:rPr>
                        <a:t>Screener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chemeClr val="tx2"/>
                          </a:solidFill>
                        </a:rPr>
                        <a:t>Discussion Guid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chemeClr val="tx2"/>
                          </a:solidFill>
                        </a:rPr>
                        <a:t>Stimuli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4796058"/>
                  </a:ext>
                </a:extLst>
              </a:tr>
              <a:tr h="487892">
                <a:tc>
                  <a:txBody>
                    <a:bodyPr/>
                    <a:lstStyle/>
                    <a:p>
                      <a:pPr algn="r"/>
                      <a:r>
                        <a:rPr lang="en-US" sz="1600" b="1"/>
                        <a:t>HCPs / KOLs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Ready for review*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F4344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n progress, pending on TPP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T w="38100" cmpd="sng">
                      <a:noFill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F4344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n progress, pending on TPP</a:t>
                      </a: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0022908"/>
                  </a:ext>
                </a:extLst>
              </a:tr>
              <a:tr h="487892">
                <a:tc>
                  <a:txBody>
                    <a:bodyPr/>
                    <a:lstStyle/>
                    <a:p>
                      <a:pPr algn="r"/>
                      <a:r>
                        <a:rPr lang="en-US" sz="1600" b="1"/>
                        <a:t>Payers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Ready for review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F4344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n progress, pending on TPP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F4344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n progress, pending on TPP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8776803"/>
                  </a:ext>
                </a:extLst>
              </a:tr>
              <a:tr h="487892">
                <a:tc>
                  <a:txBody>
                    <a:bodyPr/>
                    <a:lstStyle/>
                    <a:p>
                      <a:pPr algn="r"/>
                      <a:r>
                        <a:rPr lang="en-US" sz="1600" b="1"/>
                        <a:t>Patients / Caregivers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Ready for review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F4344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Plann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F4344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Planned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694458"/>
                  </a:ext>
                </a:extLst>
              </a:tr>
            </a:tbl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3A9F6F9B-6069-2D83-FB0A-A55701D1FED0}"/>
              </a:ext>
            </a:extLst>
          </p:cNvPr>
          <p:cNvGrpSpPr/>
          <p:nvPr/>
        </p:nvGrpSpPr>
        <p:grpSpPr>
          <a:xfrm>
            <a:off x="3881517" y="1705290"/>
            <a:ext cx="1589352" cy="1711860"/>
            <a:chOff x="3660828" y="1600960"/>
            <a:chExt cx="1783080" cy="1920519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B24F74CD-0241-FADB-1D07-5C5C2C154F2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660828" y="1600960"/>
              <a:ext cx="1188720" cy="1543562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60918F88-3168-048A-9962-EA572FD7A6E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958008" y="1788182"/>
              <a:ext cx="1188720" cy="1546075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A99CF8ED-F27D-07DE-03C7-236C6180010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255188" y="1975995"/>
              <a:ext cx="1188720" cy="1545484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01FCB7FB-EF24-3203-9FC0-96082D691561}"/>
              </a:ext>
            </a:extLst>
          </p:cNvPr>
          <p:cNvSpPr txBox="1"/>
          <p:nvPr/>
        </p:nvSpPr>
        <p:spPr>
          <a:xfrm>
            <a:off x="3293798" y="5456065"/>
            <a:ext cx="6769100" cy="51648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algn="l"/>
            <a:r>
              <a:rPr lang="en-US" sz="1200" kern="0"/>
              <a:t>*EVERSANA can target specific KOLs as an alternative to screening questions</a:t>
            </a:r>
          </a:p>
        </p:txBody>
      </p:sp>
    </p:spTree>
    <p:extLst>
      <p:ext uri="{BB962C8B-B14F-4D97-AF65-F5344CB8AC3E}">
        <p14:creationId xmlns:p14="http://schemas.microsoft.com/office/powerpoint/2010/main" val="3644514242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F66E61-6164-47D4-8C98-806B6D5B2E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ject Discussion</a:t>
            </a:r>
            <a:br>
              <a:rPr lang="en-US"/>
            </a:br>
            <a:r>
              <a:rPr lang="en-US" b="0"/>
              <a:t>Primary Market Research Survey Materials</a:t>
            </a:r>
            <a:br>
              <a:rPr lang="en-US"/>
            </a:b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D4DBCF0-E2C0-469E-9696-73AE1D3B65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EVERSANA will leverage research materials for the primary research. These materials will be reviewed and revised in coordination with the </a:t>
            </a:r>
            <a:r>
              <a:rPr lang="en-US" err="1"/>
              <a:t>Neurizon</a:t>
            </a:r>
            <a:r>
              <a:rPr lang="en-US"/>
              <a:t> team.</a:t>
            </a:r>
          </a:p>
        </p:txBody>
      </p:sp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AE25C167-A9EF-8DDD-2111-CD439DC28C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3726323"/>
              </p:ext>
            </p:extLst>
          </p:nvPr>
        </p:nvGraphicFramePr>
        <p:xfrm>
          <a:off x="609600" y="3429000"/>
          <a:ext cx="5577840" cy="14636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88920">
                  <a:extLst>
                    <a:ext uri="{9D8B030D-6E8A-4147-A177-3AD203B41FA5}">
                      <a16:colId xmlns:a16="http://schemas.microsoft.com/office/drawing/2014/main" val="4292488666"/>
                    </a:ext>
                  </a:extLst>
                </a:gridCol>
                <a:gridCol w="2788920">
                  <a:extLst>
                    <a:ext uri="{9D8B030D-6E8A-4147-A177-3AD203B41FA5}">
                      <a16:colId xmlns:a16="http://schemas.microsoft.com/office/drawing/2014/main" val="3299984185"/>
                    </a:ext>
                  </a:extLst>
                </a:gridCol>
              </a:tblGrid>
              <a:tr h="487892">
                <a:tc>
                  <a:txBody>
                    <a:bodyPr/>
                    <a:lstStyle/>
                    <a:p>
                      <a:pPr algn="r"/>
                      <a:r>
                        <a:rPr lang="en-US" sz="1600">
                          <a:solidFill>
                            <a:schemeClr val="tx2"/>
                          </a:solidFill>
                        </a:rPr>
                        <a:t>Stakeholde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chemeClr val="tx2"/>
                          </a:solidFill>
                        </a:rPr>
                        <a:t>Survey Question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4796058"/>
                  </a:ext>
                </a:extLst>
              </a:tr>
              <a:tr h="487892">
                <a:tc>
                  <a:txBody>
                    <a:bodyPr/>
                    <a:lstStyle/>
                    <a:p>
                      <a:pPr algn="r"/>
                      <a:r>
                        <a:rPr lang="en-US" sz="1600" b="1"/>
                        <a:t>HCPs / KOLs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F4344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Plann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8100" cmpd="sng">
                      <a:noFill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0022908"/>
                  </a:ext>
                </a:extLst>
              </a:tr>
              <a:tr h="487892">
                <a:tc>
                  <a:txBody>
                    <a:bodyPr/>
                    <a:lstStyle/>
                    <a:p>
                      <a:pPr algn="r"/>
                      <a:r>
                        <a:rPr lang="en-US" sz="1600" b="1"/>
                        <a:t>Patients / Caregivers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F4344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Plann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694458"/>
                  </a:ext>
                </a:extLst>
              </a:tr>
            </a:tbl>
          </a:graphicData>
        </a:graphic>
      </p:graphicFrame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E00D5E10-429E-13F2-AE51-1C5DFDD2B8D3}"/>
              </a:ext>
            </a:extLst>
          </p:cNvPr>
          <p:cNvCxnSpPr>
            <a:cxnSpLocks/>
          </p:cNvCxnSpPr>
          <p:nvPr/>
        </p:nvCxnSpPr>
        <p:spPr>
          <a:xfrm>
            <a:off x="649605" y="3895418"/>
            <a:ext cx="11115675" cy="0"/>
          </a:xfrm>
          <a:prstGeom prst="line">
            <a:avLst/>
          </a:prstGeom>
          <a:ln w="38100" cap="rnd">
            <a:solidFill>
              <a:schemeClr val="tx2"/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50" name="Group 49">
            <a:extLst>
              <a:ext uri="{FF2B5EF4-FFF2-40B4-BE49-F238E27FC236}">
                <a16:creationId xmlns:a16="http://schemas.microsoft.com/office/drawing/2014/main" id="{6D6D196F-1273-EE07-01E7-D3C14D87F5A8}"/>
              </a:ext>
            </a:extLst>
          </p:cNvPr>
          <p:cNvGrpSpPr/>
          <p:nvPr/>
        </p:nvGrpSpPr>
        <p:grpSpPr>
          <a:xfrm>
            <a:off x="3881517" y="1705290"/>
            <a:ext cx="1589352" cy="1711860"/>
            <a:chOff x="3660828" y="1600960"/>
            <a:chExt cx="1783080" cy="1920519"/>
          </a:xfrm>
        </p:grpSpPr>
        <p:pic>
          <p:nvPicPr>
            <p:cNvPr id="45" name="Picture 44">
              <a:extLst>
                <a:ext uri="{FF2B5EF4-FFF2-40B4-BE49-F238E27FC236}">
                  <a16:creationId xmlns:a16="http://schemas.microsoft.com/office/drawing/2014/main" id="{E54A806A-BFFF-2FE8-B1D7-994FA919946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660828" y="1600960"/>
              <a:ext cx="1188720" cy="1543562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1728F912-01C1-DBE7-14DB-32C23B5BA91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958008" y="1788182"/>
              <a:ext cx="1188720" cy="1546075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49" name="Picture 48">
              <a:extLst>
                <a:ext uri="{FF2B5EF4-FFF2-40B4-BE49-F238E27FC236}">
                  <a16:creationId xmlns:a16="http://schemas.microsoft.com/office/drawing/2014/main" id="{58604FE1-7E59-585C-A624-A7D84923BBD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255188" y="1975995"/>
              <a:ext cx="1188720" cy="1545484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54" name="Graphic 7">
            <a:extLst>
              <a:ext uri="{FF2B5EF4-FFF2-40B4-BE49-F238E27FC236}">
                <a16:creationId xmlns:a16="http://schemas.microsoft.com/office/drawing/2014/main" id="{742491B9-EF54-C0D9-8968-573A38694A99}"/>
              </a:ext>
            </a:extLst>
          </p:cNvPr>
          <p:cNvSpPr>
            <a:spLocks noChangeAspect="1"/>
          </p:cNvSpPr>
          <p:nvPr/>
        </p:nvSpPr>
        <p:spPr>
          <a:xfrm>
            <a:off x="1131590" y="2278632"/>
            <a:ext cx="472158" cy="700708"/>
          </a:xfrm>
          <a:custGeom>
            <a:avLst/>
            <a:gdLst>
              <a:gd name="connsiteX0" fmla="*/ 434253 w 443626"/>
              <a:gd name="connsiteY0" fmla="*/ 499753 h 658368"/>
              <a:gd name="connsiteX1" fmla="*/ 443897 w 443626"/>
              <a:gd name="connsiteY1" fmla="*/ 490109 h 658368"/>
              <a:gd name="connsiteX2" fmla="*/ 443897 w 443626"/>
              <a:gd name="connsiteY2" fmla="*/ 432972 h 658368"/>
              <a:gd name="connsiteX3" fmla="*/ 392994 w 443626"/>
              <a:gd name="connsiteY3" fmla="*/ 354368 h 658368"/>
              <a:gd name="connsiteX4" fmla="*/ 392814 w 443626"/>
              <a:gd name="connsiteY4" fmla="*/ 354293 h 658368"/>
              <a:gd name="connsiteX5" fmla="*/ 279617 w 443626"/>
              <a:gd name="connsiteY5" fmla="*/ 310458 h 658368"/>
              <a:gd name="connsiteX6" fmla="*/ 279115 w 443626"/>
              <a:gd name="connsiteY6" fmla="*/ 310226 h 658368"/>
              <a:gd name="connsiteX7" fmla="*/ 277513 w 443626"/>
              <a:gd name="connsiteY7" fmla="*/ 307736 h 658368"/>
              <a:gd name="connsiteX8" fmla="*/ 277513 w 443626"/>
              <a:gd name="connsiteY8" fmla="*/ 304898 h 658368"/>
              <a:gd name="connsiteX9" fmla="*/ 319393 w 443626"/>
              <a:gd name="connsiteY9" fmla="*/ 304898 h 658368"/>
              <a:gd name="connsiteX10" fmla="*/ 343920 w 443626"/>
              <a:gd name="connsiteY10" fmla="*/ 280371 h 658368"/>
              <a:gd name="connsiteX11" fmla="*/ 343920 w 443626"/>
              <a:gd name="connsiteY11" fmla="*/ 209316 h 658368"/>
              <a:gd name="connsiteX12" fmla="*/ 343920 w 443626"/>
              <a:gd name="connsiteY12" fmla="*/ 162773 h 658368"/>
              <a:gd name="connsiteX13" fmla="*/ 343920 w 443626"/>
              <a:gd name="connsiteY13" fmla="*/ 122032 h 658368"/>
              <a:gd name="connsiteX14" fmla="*/ 222014 w 443626"/>
              <a:gd name="connsiteY14" fmla="*/ 130 h 658368"/>
              <a:gd name="connsiteX15" fmla="*/ 100117 w 443626"/>
              <a:gd name="connsiteY15" fmla="*/ 122032 h 658368"/>
              <a:gd name="connsiteX16" fmla="*/ 100117 w 443626"/>
              <a:gd name="connsiteY16" fmla="*/ 280371 h 658368"/>
              <a:gd name="connsiteX17" fmla="*/ 124644 w 443626"/>
              <a:gd name="connsiteY17" fmla="*/ 304898 h 658368"/>
              <a:gd name="connsiteX18" fmla="*/ 166395 w 443626"/>
              <a:gd name="connsiteY18" fmla="*/ 304898 h 658368"/>
              <a:gd name="connsiteX19" fmla="*/ 166395 w 443626"/>
              <a:gd name="connsiteY19" fmla="*/ 307741 h 658368"/>
              <a:gd name="connsiteX20" fmla="*/ 164617 w 443626"/>
              <a:gd name="connsiteY20" fmla="*/ 310332 h 658368"/>
              <a:gd name="connsiteX21" fmla="*/ 51213 w 443626"/>
              <a:gd name="connsiteY21" fmla="*/ 354299 h 658368"/>
              <a:gd name="connsiteX22" fmla="*/ 51032 w 443626"/>
              <a:gd name="connsiteY22" fmla="*/ 354368 h 658368"/>
              <a:gd name="connsiteX23" fmla="*/ 130 w 443626"/>
              <a:gd name="connsiteY23" fmla="*/ 432972 h 658368"/>
              <a:gd name="connsiteX24" fmla="*/ 130 w 443626"/>
              <a:gd name="connsiteY24" fmla="*/ 633885 h 658368"/>
              <a:gd name="connsiteX25" fmla="*/ 24747 w 443626"/>
              <a:gd name="connsiteY25" fmla="*/ 658498 h 658368"/>
              <a:gd name="connsiteX26" fmla="*/ 199511 w 443626"/>
              <a:gd name="connsiteY26" fmla="*/ 658498 h 658368"/>
              <a:gd name="connsiteX27" fmla="*/ 209155 w 443626"/>
              <a:gd name="connsiteY27" fmla="*/ 648854 h 658368"/>
              <a:gd name="connsiteX28" fmla="*/ 199511 w 443626"/>
              <a:gd name="connsiteY28" fmla="*/ 639210 h 658368"/>
              <a:gd name="connsiteX29" fmla="*/ 177365 w 443626"/>
              <a:gd name="connsiteY29" fmla="*/ 639210 h 658368"/>
              <a:gd name="connsiteX30" fmla="*/ 177365 w 443626"/>
              <a:gd name="connsiteY30" fmla="*/ 372235 h 658368"/>
              <a:gd name="connsiteX31" fmla="*/ 265634 w 443626"/>
              <a:gd name="connsiteY31" fmla="*/ 372230 h 658368"/>
              <a:gd name="connsiteX32" fmla="*/ 265634 w 443626"/>
              <a:gd name="connsiteY32" fmla="*/ 639210 h 658368"/>
              <a:gd name="connsiteX33" fmla="*/ 244522 w 443626"/>
              <a:gd name="connsiteY33" fmla="*/ 639210 h 658368"/>
              <a:gd name="connsiteX34" fmla="*/ 234873 w 443626"/>
              <a:gd name="connsiteY34" fmla="*/ 648854 h 658368"/>
              <a:gd name="connsiteX35" fmla="*/ 244522 w 443626"/>
              <a:gd name="connsiteY35" fmla="*/ 658498 h 658368"/>
              <a:gd name="connsiteX36" fmla="*/ 419285 w 443626"/>
              <a:gd name="connsiteY36" fmla="*/ 658498 h 658368"/>
              <a:gd name="connsiteX37" fmla="*/ 443897 w 443626"/>
              <a:gd name="connsiteY37" fmla="*/ 633885 h 658368"/>
              <a:gd name="connsiteX38" fmla="*/ 443897 w 443626"/>
              <a:gd name="connsiteY38" fmla="*/ 535114 h 658368"/>
              <a:gd name="connsiteX39" fmla="*/ 434253 w 443626"/>
              <a:gd name="connsiteY39" fmla="*/ 525470 h 658368"/>
              <a:gd name="connsiteX40" fmla="*/ 424609 w 443626"/>
              <a:gd name="connsiteY40" fmla="*/ 535114 h 658368"/>
              <a:gd name="connsiteX41" fmla="*/ 424609 w 443626"/>
              <a:gd name="connsiteY41" fmla="*/ 633885 h 658368"/>
              <a:gd name="connsiteX42" fmla="*/ 419285 w 443626"/>
              <a:gd name="connsiteY42" fmla="*/ 639210 h 658368"/>
              <a:gd name="connsiteX43" fmla="*/ 382923 w 443626"/>
              <a:gd name="connsiteY43" fmla="*/ 639210 h 658368"/>
              <a:gd name="connsiteX44" fmla="*/ 382923 w 443626"/>
              <a:gd name="connsiteY44" fmla="*/ 465160 h 658368"/>
              <a:gd name="connsiteX45" fmla="*/ 373279 w 443626"/>
              <a:gd name="connsiteY45" fmla="*/ 455511 h 658368"/>
              <a:gd name="connsiteX46" fmla="*/ 363635 w 443626"/>
              <a:gd name="connsiteY46" fmla="*/ 465160 h 658368"/>
              <a:gd name="connsiteX47" fmla="*/ 363635 w 443626"/>
              <a:gd name="connsiteY47" fmla="*/ 639210 h 658368"/>
              <a:gd name="connsiteX48" fmla="*/ 284922 w 443626"/>
              <a:gd name="connsiteY48" fmla="*/ 639210 h 658368"/>
              <a:gd name="connsiteX49" fmla="*/ 284922 w 443626"/>
              <a:gd name="connsiteY49" fmla="*/ 631450 h 658368"/>
              <a:gd name="connsiteX50" fmla="*/ 293294 w 443626"/>
              <a:gd name="connsiteY50" fmla="*/ 632670 h 658368"/>
              <a:gd name="connsiteX51" fmla="*/ 302938 w 443626"/>
              <a:gd name="connsiteY51" fmla="*/ 623026 h 658368"/>
              <a:gd name="connsiteX52" fmla="*/ 293294 w 443626"/>
              <a:gd name="connsiteY52" fmla="*/ 613382 h 658368"/>
              <a:gd name="connsiteX53" fmla="*/ 284922 w 443626"/>
              <a:gd name="connsiteY53" fmla="*/ 606767 h 658368"/>
              <a:gd name="connsiteX54" fmla="*/ 284922 w 443626"/>
              <a:gd name="connsiteY54" fmla="*/ 535526 h 658368"/>
              <a:gd name="connsiteX55" fmla="*/ 293294 w 443626"/>
              <a:gd name="connsiteY55" fmla="*/ 528911 h 658368"/>
              <a:gd name="connsiteX56" fmla="*/ 321950 w 443626"/>
              <a:gd name="connsiteY56" fmla="*/ 528911 h 658368"/>
              <a:gd name="connsiteX57" fmla="*/ 330323 w 443626"/>
              <a:gd name="connsiteY57" fmla="*/ 535526 h 658368"/>
              <a:gd name="connsiteX58" fmla="*/ 330323 w 443626"/>
              <a:gd name="connsiteY58" fmla="*/ 606767 h 658368"/>
              <a:gd name="connsiteX59" fmla="*/ 321950 w 443626"/>
              <a:gd name="connsiteY59" fmla="*/ 613382 h 658368"/>
              <a:gd name="connsiteX60" fmla="*/ 312306 w 443626"/>
              <a:gd name="connsiteY60" fmla="*/ 623026 h 658368"/>
              <a:gd name="connsiteX61" fmla="*/ 321950 w 443626"/>
              <a:gd name="connsiteY61" fmla="*/ 632670 h 658368"/>
              <a:gd name="connsiteX62" fmla="*/ 349612 w 443626"/>
              <a:gd name="connsiteY62" fmla="*/ 606767 h 658368"/>
              <a:gd name="connsiteX63" fmla="*/ 349612 w 443626"/>
              <a:gd name="connsiteY63" fmla="*/ 535526 h 658368"/>
              <a:gd name="connsiteX64" fmla="*/ 321950 w 443626"/>
              <a:gd name="connsiteY64" fmla="*/ 509623 h 658368"/>
              <a:gd name="connsiteX65" fmla="*/ 317269 w 443626"/>
              <a:gd name="connsiteY65" fmla="*/ 509623 h 658368"/>
              <a:gd name="connsiteX66" fmla="*/ 317269 w 443626"/>
              <a:gd name="connsiteY66" fmla="*/ 474779 h 658368"/>
              <a:gd name="connsiteX67" fmla="*/ 335406 w 443626"/>
              <a:gd name="connsiteY67" fmla="*/ 451693 h 658368"/>
              <a:gd name="connsiteX68" fmla="*/ 332122 w 443626"/>
              <a:gd name="connsiteY68" fmla="*/ 426603 h 658368"/>
              <a:gd name="connsiteX69" fmla="*/ 315983 w 443626"/>
              <a:gd name="connsiteY69" fmla="*/ 414263 h 658368"/>
              <a:gd name="connsiteX70" fmla="*/ 345327 w 443626"/>
              <a:gd name="connsiteY70" fmla="*/ 387229 h 658368"/>
              <a:gd name="connsiteX71" fmla="*/ 348236 w 443626"/>
              <a:gd name="connsiteY71" fmla="*/ 364520 h 658368"/>
              <a:gd name="connsiteX72" fmla="*/ 342294 w 443626"/>
              <a:gd name="connsiteY72" fmla="*/ 355419 h 658368"/>
              <a:gd name="connsiteX73" fmla="*/ 364605 w 443626"/>
              <a:gd name="connsiteY73" fmla="*/ 364058 h 658368"/>
              <a:gd name="connsiteX74" fmla="*/ 385711 w 443626"/>
              <a:gd name="connsiteY74" fmla="*/ 372230 h 658368"/>
              <a:gd name="connsiteX75" fmla="*/ 385993 w 443626"/>
              <a:gd name="connsiteY75" fmla="*/ 372356 h 658368"/>
              <a:gd name="connsiteX76" fmla="*/ 424609 w 443626"/>
              <a:gd name="connsiteY76" fmla="*/ 432972 h 658368"/>
              <a:gd name="connsiteX77" fmla="*/ 424609 w 443626"/>
              <a:gd name="connsiteY77" fmla="*/ 490109 h 658368"/>
              <a:gd name="connsiteX78" fmla="*/ 434253 w 443626"/>
              <a:gd name="connsiteY78" fmla="*/ 499753 h 658368"/>
              <a:gd name="connsiteX79" fmla="*/ 158077 w 443626"/>
              <a:gd name="connsiteY79" fmla="*/ 639210 h 658368"/>
              <a:gd name="connsiteX80" fmla="*/ 80397 w 443626"/>
              <a:gd name="connsiteY80" fmla="*/ 639210 h 658368"/>
              <a:gd name="connsiteX81" fmla="*/ 80397 w 443626"/>
              <a:gd name="connsiteY81" fmla="*/ 465160 h 658368"/>
              <a:gd name="connsiteX82" fmla="*/ 70753 w 443626"/>
              <a:gd name="connsiteY82" fmla="*/ 455511 h 658368"/>
              <a:gd name="connsiteX83" fmla="*/ 61109 w 443626"/>
              <a:gd name="connsiteY83" fmla="*/ 465160 h 658368"/>
              <a:gd name="connsiteX84" fmla="*/ 61109 w 443626"/>
              <a:gd name="connsiteY84" fmla="*/ 639210 h 658368"/>
              <a:gd name="connsiteX85" fmla="*/ 24747 w 443626"/>
              <a:gd name="connsiteY85" fmla="*/ 639210 h 658368"/>
              <a:gd name="connsiteX86" fmla="*/ 19423 w 443626"/>
              <a:gd name="connsiteY86" fmla="*/ 633885 h 658368"/>
              <a:gd name="connsiteX87" fmla="*/ 19423 w 443626"/>
              <a:gd name="connsiteY87" fmla="*/ 432972 h 658368"/>
              <a:gd name="connsiteX88" fmla="*/ 58311 w 443626"/>
              <a:gd name="connsiteY88" fmla="*/ 372235 h 658368"/>
              <a:gd name="connsiteX89" fmla="*/ 100368 w 443626"/>
              <a:gd name="connsiteY89" fmla="*/ 355930 h 658368"/>
              <a:gd name="connsiteX90" fmla="*/ 94762 w 443626"/>
              <a:gd name="connsiteY90" fmla="*/ 364520 h 658368"/>
              <a:gd name="connsiteX91" fmla="*/ 97671 w 443626"/>
              <a:gd name="connsiteY91" fmla="*/ 387229 h 658368"/>
              <a:gd name="connsiteX92" fmla="*/ 127015 w 443626"/>
              <a:gd name="connsiteY92" fmla="*/ 414263 h 658368"/>
              <a:gd name="connsiteX93" fmla="*/ 110876 w 443626"/>
              <a:gd name="connsiteY93" fmla="*/ 426603 h 658368"/>
              <a:gd name="connsiteX94" fmla="*/ 107586 w 443626"/>
              <a:gd name="connsiteY94" fmla="*/ 451688 h 658368"/>
              <a:gd name="connsiteX95" fmla="*/ 126764 w 443626"/>
              <a:gd name="connsiteY95" fmla="*/ 476099 h 658368"/>
              <a:gd name="connsiteX96" fmla="*/ 126764 w 443626"/>
              <a:gd name="connsiteY96" fmla="*/ 528604 h 658368"/>
              <a:gd name="connsiteX97" fmla="*/ 105255 w 443626"/>
              <a:gd name="connsiteY97" fmla="*/ 558220 h 658368"/>
              <a:gd name="connsiteX98" fmla="*/ 136407 w 443626"/>
              <a:gd name="connsiteY98" fmla="*/ 589372 h 658368"/>
              <a:gd name="connsiteX99" fmla="*/ 158077 w 443626"/>
              <a:gd name="connsiteY99" fmla="*/ 580571 h 658368"/>
              <a:gd name="connsiteX100" fmla="*/ 136407 w 443626"/>
              <a:gd name="connsiteY100" fmla="*/ 546356 h 658368"/>
              <a:gd name="connsiteX101" fmla="*/ 148272 w 443626"/>
              <a:gd name="connsiteY101" fmla="*/ 558220 h 658368"/>
              <a:gd name="connsiteX102" fmla="*/ 136407 w 443626"/>
              <a:gd name="connsiteY102" fmla="*/ 570084 h 658368"/>
              <a:gd name="connsiteX103" fmla="*/ 124543 w 443626"/>
              <a:gd name="connsiteY103" fmla="*/ 558220 h 658368"/>
              <a:gd name="connsiteX104" fmla="*/ 136407 w 443626"/>
              <a:gd name="connsiteY104" fmla="*/ 546356 h 658368"/>
              <a:gd name="connsiteX105" fmla="*/ 158077 w 443626"/>
              <a:gd name="connsiteY105" fmla="*/ 535868 h 658368"/>
              <a:gd name="connsiteX106" fmla="*/ 146051 w 443626"/>
              <a:gd name="connsiteY106" fmla="*/ 528604 h 658368"/>
              <a:gd name="connsiteX107" fmla="*/ 146051 w 443626"/>
              <a:gd name="connsiteY107" fmla="*/ 500647 h 658368"/>
              <a:gd name="connsiteX108" fmla="*/ 158077 w 443626"/>
              <a:gd name="connsiteY108" fmla="*/ 515947 h 658368"/>
              <a:gd name="connsiteX109" fmla="*/ 158077 w 443626"/>
              <a:gd name="connsiteY109" fmla="*/ 484724 h 658368"/>
              <a:gd name="connsiteX110" fmla="*/ 123750 w 443626"/>
              <a:gd name="connsiteY110" fmla="*/ 441040 h 658368"/>
              <a:gd name="connsiteX111" fmla="*/ 140109 w 443626"/>
              <a:gd name="connsiteY111" fmla="*/ 428527 h 658368"/>
              <a:gd name="connsiteX112" fmla="*/ 141410 w 443626"/>
              <a:gd name="connsiteY112" fmla="*/ 401293 h 658368"/>
              <a:gd name="connsiteX113" fmla="*/ 111675 w 443626"/>
              <a:gd name="connsiteY113" fmla="*/ 373898 h 658368"/>
              <a:gd name="connsiteX114" fmla="*/ 131199 w 443626"/>
              <a:gd name="connsiteY114" fmla="*/ 343976 h 658368"/>
              <a:gd name="connsiteX115" fmla="*/ 158077 w 443626"/>
              <a:gd name="connsiteY115" fmla="*/ 333554 h 658368"/>
              <a:gd name="connsiteX116" fmla="*/ 324632 w 443626"/>
              <a:gd name="connsiteY116" fmla="*/ 280371 h 658368"/>
              <a:gd name="connsiteX117" fmla="*/ 319393 w 443626"/>
              <a:gd name="connsiteY117" fmla="*/ 285610 h 658368"/>
              <a:gd name="connsiteX118" fmla="*/ 278759 w 443626"/>
              <a:gd name="connsiteY118" fmla="*/ 285610 h 658368"/>
              <a:gd name="connsiteX119" fmla="*/ 312281 w 443626"/>
              <a:gd name="connsiteY119" fmla="*/ 226755 h 658368"/>
              <a:gd name="connsiteX120" fmla="*/ 324632 w 443626"/>
              <a:gd name="connsiteY120" fmla="*/ 223711 h 658368"/>
              <a:gd name="connsiteX121" fmla="*/ 332745 w 443626"/>
              <a:gd name="connsiteY121" fmla="*/ 186044 h 658368"/>
              <a:gd name="connsiteX122" fmla="*/ 313080 w 443626"/>
              <a:gd name="connsiteY122" fmla="*/ 207076 h 658368"/>
              <a:gd name="connsiteX123" fmla="*/ 313080 w 443626"/>
              <a:gd name="connsiteY123" fmla="*/ 165014 h 658368"/>
              <a:gd name="connsiteX124" fmla="*/ 332745 w 443626"/>
              <a:gd name="connsiteY124" fmla="*/ 186044 h 658368"/>
              <a:gd name="connsiteX125" fmla="*/ 124644 w 443626"/>
              <a:gd name="connsiteY125" fmla="*/ 285610 h 658368"/>
              <a:gd name="connsiteX126" fmla="*/ 119405 w 443626"/>
              <a:gd name="connsiteY126" fmla="*/ 280371 h 658368"/>
              <a:gd name="connsiteX127" fmla="*/ 119405 w 443626"/>
              <a:gd name="connsiteY127" fmla="*/ 122032 h 658368"/>
              <a:gd name="connsiteX128" fmla="*/ 222019 w 443626"/>
              <a:gd name="connsiteY128" fmla="*/ 19418 h 658368"/>
              <a:gd name="connsiteX129" fmla="*/ 324632 w 443626"/>
              <a:gd name="connsiteY129" fmla="*/ 122032 h 658368"/>
              <a:gd name="connsiteX130" fmla="*/ 324632 w 443626"/>
              <a:gd name="connsiteY130" fmla="*/ 148382 h 658368"/>
              <a:gd name="connsiteX131" fmla="*/ 324513 w 443626"/>
              <a:gd name="connsiteY131" fmla="*/ 148337 h 658368"/>
              <a:gd name="connsiteX132" fmla="*/ 312980 w 443626"/>
              <a:gd name="connsiteY132" fmla="*/ 145418 h 658368"/>
              <a:gd name="connsiteX133" fmla="*/ 300959 w 443626"/>
              <a:gd name="connsiteY133" fmla="*/ 130947 h 658368"/>
              <a:gd name="connsiteX134" fmla="*/ 256647 w 443626"/>
              <a:gd name="connsiteY134" fmla="*/ 102970 h 658368"/>
              <a:gd name="connsiteX135" fmla="*/ 231532 w 443626"/>
              <a:gd name="connsiteY135" fmla="*/ 103603 h 658368"/>
              <a:gd name="connsiteX136" fmla="*/ 142124 w 443626"/>
              <a:gd name="connsiteY136" fmla="*/ 169268 h 658368"/>
              <a:gd name="connsiteX137" fmla="*/ 130957 w 443626"/>
              <a:gd name="connsiteY137" fmla="*/ 185296 h 658368"/>
              <a:gd name="connsiteX138" fmla="*/ 130957 w 443626"/>
              <a:gd name="connsiteY138" fmla="*/ 214997 h 658368"/>
              <a:gd name="connsiteX139" fmla="*/ 165315 w 443626"/>
              <a:gd name="connsiteY139" fmla="*/ 285610 h 658368"/>
              <a:gd name="connsiteX140" fmla="*/ 265634 w 443626"/>
              <a:gd name="connsiteY140" fmla="*/ 346884 h 658368"/>
              <a:gd name="connsiteX141" fmla="*/ 177365 w 443626"/>
              <a:gd name="connsiteY141" fmla="*/ 346905 h 658368"/>
              <a:gd name="connsiteX142" fmla="*/ 177365 w 443626"/>
              <a:gd name="connsiteY142" fmla="*/ 324979 h 658368"/>
              <a:gd name="connsiteX143" fmla="*/ 185683 w 443626"/>
              <a:gd name="connsiteY143" fmla="*/ 307741 h 658368"/>
              <a:gd name="connsiteX144" fmla="*/ 185683 w 443626"/>
              <a:gd name="connsiteY144" fmla="*/ 297523 h 658368"/>
              <a:gd name="connsiteX145" fmla="*/ 223174 w 443626"/>
              <a:gd name="connsiteY145" fmla="*/ 304898 h 658368"/>
              <a:gd name="connsiteX146" fmla="*/ 258190 w 443626"/>
              <a:gd name="connsiteY146" fmla="*/ 297795 h 658368"/>
              <a:gd name="connsiteX147" fmla="*/ 258219 w 443626"/>
              <a:gd name="connsiteY147" fmla="*/ 297784 h 658368"/>
              <a:gd name="connsiteX148" fmla="*/ 258219 w 443626"/>
              <a:gd name="connsiteY148" fmla="*/ 307736 h 658368"/>
              <a:gd name="connsiteX149" fmla="*/ 265634 w 443626"/>
              <a:gd name="connsiteY149" fmla="*/ 324191 h 658368"/>
              <a:gd name="connsiteX150" fmla="*/ 223179 w 443626"/>
              <a:gd name="connsiteY150" fmla="*/ 285610 h 658368"/>
              <a:gd name="connsiteX151" fmla="*/ 150246 w 443626"/>
              <a:gd name="connsiteY151" fmla="*/ 214997 h 658368"/>
              <a:gd name="connsiteX152" fmla="*/ 150246 w 443626"/>
              <a:gd name="connsiteY152" fmla="*/ 186824 h 658368"/>
              <a:gd name="connsiteX153" fmla="*/ 244467 w 443626"/>
              <a:gd name="connsiteY153" fmla="*/ 118094 h 658368"/>
              <a:gd name="connsiteX154" fmla="*/ 293787 w 443626"/>
              <a:gd name="connsiteY154" fmla="*/ 148910 h 658368"/>
              <a:gd name="connsiteX155" fmla="*/ 293787 w 443626"/>
              <a:gd name="connsiteY155" fmla="*/ 214997 h 658368"/>
              <a:gd name="connsiteX156" fmla="*/ 223179 w 443626"/>
              <a:gd name="connsiteY156" fmla="*/ 285610 h 658368"/>
              <a:gd name="connsiteX157" fmla="*/ 297981 w 443626"/>
              <a:gd name="connsiteY157" fmla="*/ 509623 h 658368"/>
              <a:gd name="connsiteX158" fmla="*/ 293294 w 443626"/>
              <a:gd name="connsiteY158" fmla="*/ 509623 h 658368"/>
              <a:gd name="connsiteX159" fmla="*/ 289697 w 443626"/>
              <a:gd name="connsiteY159" fmla="*/ 509869 h 658368"/>
              <a:gd name="connsiteX160" fmla="*/ 297976 w 443626"/>
              <a:gd name="connsiteY160" fmla="*/ 499326 h 658368"/>
              <a:gd name="connsiteX161" fmla="*/ 297976 w 443626"/>
              <a:gd name="connsiteY161" fmla="*/ 509623 h 658368"/>
              <a:gd name="connsiteX162" fmla="*/ 301588 w 443626"/>
              <a:gd name="connsiteY162" fmla="*/ 401293 h 658368"/>
              <a:gd name="connsiteX163" fmla="*/ 302888 w 443626"/>
              <a:gd name="connsiteY163" fmla="*/ 428532 h 658368"/>
              <a:gd name="connsiteX164" fmla="*/ 319248 w 443626"/>
              <a:gd name="connsiteY164" fmla="*/ 441040 h 658368"/>
              <a:gd name="connsiteX165" fmla="*/ 284922 w 443626"/>
              <a:gd name="connsiteY165" fmla="*/ 484729 h 658368"/>
              <a:gd name="connsiteX166" fmla="*/ 284922 w 443626"/>
              <a:gd name="connsiteY166" fmla="*/ 333197 h 658368"/>
              <a:gd name="connsiteX167" fmla="*/ 311478 w 443626"/>
              <a:gd name="connsiteY167" fmla="*/ 343484 h 658368"/>
              <a:gd name="connsiteX168" fmla="*/ 331328 w 443626"/>
              <a:gd name="connsiteY168" fmla="*/ 373903 h 658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</a:cxnLst>
            <a:rect l="l" t="t" r="r" b="b"/>
            <a:pathLst>
              <a:path w="443626" h="658368">
                <a:moveTo>
                  <a:pt x="434253" y="499753"/>
                </a:moveTo>
                <a:cubicBezTo>
                  <a:pt x="439583" y="499753"/>
                  <a:pt x="443897" y="495434"/>
                  <a:pt x="443897" y="490109"/>
                </a:cubicBezTo>
                <a:lnTo>
                  <a:pt x="443897" y="432972"/>
                </a:lnTo>
                <a:cubicBezTo>
                  <a:pt x="443897" y="375948"/>
                  <a:pt x="395075" y="355222"/>
                  <a:pt x="392994" y="354368"/>
                </a:cubicBezTo>
                <a:cubicBezTo>
                  <a:pt x="392935" y="354344"/>
                  <a:pt x="392875" y="354318"/>
                  <a:pt x="392814" y="354293"/>
                </a:cubicBezTo>
                <a:lnTo>
                  <a:pt x="279617" y="310458"/>
                </a:lnTo>
                <a:cubicBezTo>
                  <a:pt x="279070" y="310187"/>
                  <a:pt x="279351" y="310332"/>
                  <a:pt x="279115" y="310226"/>
                </a:cubicBezTo>
                <a:cubicBezTo>
                  <a:pt x="278155" y="309775"/>
                  <a:pt x="277513" y="308806"/>
                  <a:pt x="277513" y="307736"/>
                </a:cubicBezTo>
                <a:lnTo>
                  <a:pt x="277513" y="304898"/>
                </a:lnTo>
                <a:lnTo>
                  <a:pt x="319393" y="304898"/>
                </a:lnTo>
                <a:cubicBezTo>
                  <a:pt x="332916" y="304898"/>
                  <a:pt x="343920" y="293892"/>
                  <a:pt x="343920" y="280371"/>
                </a:cubicBezTo>
                <a:lnTo>
                  <a:pt x="343920" y="209316"/>
                </a:lnTo>
                <a:cubicBezTo>
                  <a:pt x="354740" y="195301"/>
                  <a:pt x="354750" y="176803"/>
                  <a:pt x="343920" y="162773"/>
                </a:cubicBezTo>
                <a:lnTo>
                  <a:pt x="343920" y="122032"/>
                </a:lnTo>
                <a:cubicBezTo>
                  <a:pt x="343920" y="54815"/>
                  <a:pt x="289236" y="130"/>
                  <a:pt x="222014" y="130"/>
                </a:cubicBezTo>
                <a:cubicBezTo>
                  <a:pt x="154796" y="130"/>
                  <a:pt x="100117" y="54815"/>
                  <a:pt x="100117" y="122032"/>
                </a:cubicBezTo>
                <a:lnTo>
                  <a:pt x="100117" y="280371"/>
                </a:lnTo>
                <a:cubicBezTo>
                  <a:pt x="100117" y="293892"/>
                  <a:pt x="111117" y="304898"/>
                  <a:pt x="124644" y="304898"/>
                </a:cubicBezTo>
                <a:lnTo>
                  <a:pt x="166395" y="304898"/>
                </a:lnTo>
                <a:lnTo>
                  <a:pt x="166395" y="307741"/>
                </a:lnTo>
                <a:cubicBezTo>
                  <a:pt x="166395" y="308896"/>
                  <a:pt x="165697" y="309915"/>
                  <a:pt x="164617" y="310332"/>
                </a:cubicBezTo>
                <a:cubicBezTo>
                  <a:pt x="140532" y="319670"/>
                  <a:pt x="56618" y="352204"/>
                  <a:pt x="51213" y="354299"/>
                </a:cubicBezTo>
                <a:cubicBezTo>
                  <a:pt x="51153" y="354323"/>
                  <a:pt x="51093" y="354344"/>
                  <a:pt x="51032" y="354368"/>
                </a:cubicBezTo>
                <a:cubicBezTo>
                  <a:pt x="48958" y="355222"/>
                  <a:pt x="130" y="375953"/>
                  <a:pt x="130" y="432972"/>
                </a:cubicBezTo>
                <a:lnTo>
                  <a:pt x="130" y="633885"/>
                </a:lnTo>
                <a:cubicBezTo>
                  <a:pt x="130" y="647457"/>
                  <a:pt x="11170" y="658498"/>
                  <a:pt x="24747" y="658498"/>
                </a:cubicBezTo>
                <a:lnTo>
                  <a:pt x="199511" y="658498"/>
                </a:lnTo>
                <a:cubicBezTo>
                  <a:pt x="204840" y="658498"/>
                  <a:pt x="209155" y="654184"/>
                  <a:pt x="209155" y="648854"/>
                </a:cubicBezTo>
                <a:cubicBezTo>
                  <a:pt x="209155" y="643524"/>
                  <a:pt x="204840" y="639210"/>
                  <a:pt x="199511" y="639210"/>
                </a:cubicBezTo>
                <a:lnTo>
                  <a:pt x="177365" y="639210"/>
                </a:lnTo>
                <a:cubicBezTo>
                  <a:pt x="177365" y="630736"/>
                  <a:pt x="177365" y="382070"/>
                  <a:pt x="177365" y="372235"/>
                </a:cubicBezTo>
                <a:cubicBezTo>
                  <a:pt x="203449" y="389821"/>
                  <a:pt x="238549" y="390498"/>
                  <a:pt x="265634" y="372230"/>
                </a:cubicBezTo>
                <a:lnTo>
                  <a:pt x="265634" y="639210"/>
                </a:lnTo>
                <a:lnTo>
                  <a:pt x="244522" y="639210"/>
                </a:lnTo>
                <a:cubicBezTo>
                  <a:pt x="239192" y="639210"/>
                  <a:pt x="234873" y="643524"/>
                  <a:pt x="234873" y="648854"/>
                </a:cubicBezTo>
                <a:cubicBezTo>
                  <a:pt x="234873" y="654184"/>
                  <a:pt x="239192" y="658498"/>
                  <a:pt x="244522" y="658498"/>
                </a:cubicBezTo>
                <a:lnTo>
                  <a:pt x="419285" y="658498"/>
                </a:lnTo>
                <a:cubicBezTo>
                  <a:pt x="432857" y="658498"/>
                  <a:pt x="443897" y="647457"/>
                  <a:pt x="443897" y="633885"/>
                </a:cubicBezTo>
                <a:lnTo>
                  <a:pt x="443897" y="535114"/>
                </a:lnTo>
                <a:cubicBezTo>
                  <a:pt x="443897" y="529790"/>
                  <a:pt x="439583" y="525470"/>
                  <a:pt x="434253" y="525470"/>
                </a:cubicBezTo>
                <a:cubicBezTo>
                  <a:pt x="428924" y="525470"/>
                  <a:pt x="424609" y="529790"/>
                  <a:pt x="424609" y="535114"/>
                </a:cubicBezTo>
                <a:lnTo>
                  <a:pt x="424609" y="633885"/>
                </a:lnTo>
                <a:cubicBezTo>
                  <a:pt x="424609" y="636819"/>
                  <a:pt x="422224" y="639210"/>
                  <a:pt x="419285" y="639210"/>
                </a:cubicBezTo>
                <a:lnTo>
                  <a:pt x="382923" y="639210"/>
                </a:lnTo>
                <a:lnTo>
                  <a:pt x="382923" y="465160"/>
                </a:lnTo>
                <a:cubicBezTo>
                  <a:pt x="382923" y="459830"/>
                  <a:pt x="378609" y="455511"/>
                  <a:pt x="373279" y="455511"/>
                </a:cubicBezTo>
                <a:cubicBezTo>
                  <a:pt x="367951" y="455511"/>
                  <a:pt x="363635" y="459830"/>
                  <a:pt x="363635" y="465160"/>
                </a:cubicBezTo>
                <a:lnTo>
                  <a:pt x="363635" y="639210"/>
                </a:lnTo>
                <a:lnTo>
                  <a:pt x="284922" y="639210"/>
                </a:lnTo>
                <a:lnTo>
                  <a:pt x="284922" y="631450"/>
                </a:lnTo>
                <a:cubicBezTo>
                  <a:pt x="287563" y="632238"/>
                  <a:pt x="290376" y="632670"/>
                  <a:pt x="293294" y="632670"/>
                </a:cubicBezTo>
                <a:cubicBezTo>
                  <a:pt x="298624" y="632670"/>
                  <a:pt x="302938" y="628351"/>
                  <a:pt x="302938" y="623026"/>
                </a:cubicBezTo>
                <a:cubicBezTo>
                  <a:pt x="302938" y="617697"/>
                  <a:pt x="298624" y="613382"/>
                  <a:pt x="293294" y="613382"/>
                </a:cubicBezTo>
                <a:cubicBezTo>
                  <a:pt x="288759" y="613382"/>
                  <a:pt x="284922" y="610354"/>
                  <a:pt x="284922" y="606767"/>
                </a:cubicBezTo>
                <a:lnTo>
                  <a:pt x="284922" y="535526"/>
                </a:lnTo>
                <a:cubicBezTo>
                  <a:pt x="284922" y="531940"/>
                  <a:pt x="288754" y="528911"/>
                  <a:pt x="293294" y="528911"/>
                </a:cubicBezTo>
                <a:lnTo>
                  <a:pt x="321950" y="528911"/>
                </a:lnTo>
                <a:cubicBezTo>
                  <a:pt x="326491" y="528911"/>
                  <a:pt x="330323" y="531940"/>
                  <a:pt x="330323" y="535526"/>
                </a:cubicBezTo>
                <a:lnTo>
                  <a:pt x="330323" y="606767"/>
                </a:lnTo>
                <a:cubicBezTo>
                  <a:pt x="330323" y="610354"/>
                  <a:pt x="326491" y="613382"/>
                  <a:pt x="321950" y="613382"/>
                </a:cubicBezTo>
                <a:cubicBezTo>
                  <a:pt x="316621" y="613382"/>
                  <a:pt x="312306" y="617697"/>
                  <a:pt x="312306" y="623026"/>
                </a:cubicBezTo>
                <a:cubicBezTo>
                  <a:pt x="312306" y="628351"/>
                  <a:pt x="316621" y="632670"/>
                  <a:pt x="321950" y="632670"/>
                </a:cubicBezTo>
                <a:cubicBezTo>
                  <a:pt x="337205" y="632670"/>
                  <a:pt x="349612" y="621052"/>
                  <a:pt x="349612" y="606767"/>
                </a:cubicBezTo>
                <a:lnTo>
                  <a:pt x="349612" y="535526"/>
                </a:lnTo>
                <a:cubicBezTo>
                  <a:pt x="349612" y="521246"/>
                  <a:pt x="337205" y="509623"/>
                  <a:pt x="321950" y="509623"/>
                </a:cubicBezTo>
                <a:lnTo>
                  <a:pt x="317269" y="509623"/>
                </a:lnTo>
                <a:lnTo>
                  <a:pt x="317269" y="474779"/>
                </a:lnTo>
                <a:lnTo>
                  <a:pt x="335406" y="451693"/>
                </a:lnTo>
                <a:cubicBezTo>
                  <a:pt x="341525" y="443907"/>
                  <a:pt x="340159" y="432747"/>
                  <a:pt x="332122" y="426603"/>
                </a:cubicBezTo>
                <a:lnTo>
                  <a:pt x="315983" y="414263"/>
                </a:lnTo>
                <a:lnTo>
                  <a:pt x="345327" y="387229"/>
                </a:lnTo>
                <a:cubicBezTo>
                  <a:pt x="351741" y="381321"/>
                  <a:pt x="352968" y="371768"/>
                  <a:pt x="348236" y="364520"/>
                </a:cubicBezTo>
                <a:lnTo>
                  <a:pt x="342294" y="355419"/>
                </a:lnTo>
                <a:lnTo>
                  <a:pt x="364605" y="364058"/>
                </a:lnTo>
                <a:lnTo>
                  <a:pt x="385711" y="372230"/>
                </a:lnTo>
                <a:cubicBezTo>
                  <a:pt x="385777" y="372260"/>
                  <a:pt x="385877" y="372306"/>
                  <a:pt x="385993" y="372356"/>
                </a:cubicBezTo>
                <a:cubicBezTo>
                  <a:pt x="389776" y="374059"/>
                  <a:pt x="424609" y="390920"/>
                  <a:pt x="424609" y="432972"/>
                </a:cubicBezTo>
                <a:lnTo>
                  <a:pt x="424609" y="490109"/>
                </a:lnTo>
                <a:cubicBezTo>
                  <a:pt x="424609" y="495434"/>
                  <a:pt x="428929" y="499753"/>
                  <a:pt x="434253" y="499753"/>
                </a:cubicBezTo>
                <a:close/>
                <a:moveTo>
                  <a:pt x="158077" y="639210"/>
                </a:moveTo>
                <a:lnTo>
                  <a:pt x="80397" y="639210"/>
                </a:lnTo>
                <a:lnTo>
                  <a:pt x="80397" y="465160"/>
                </a:lnTo>
                <a:cubicBezTo>
                  <a:pt x="80397" y="459830"/>
                  <a:pt x="76082" y="455511"/>
                  <a:pt x="70753" y="455511"/>
                </a:cubicBezTo>
                <a:cubicBezTo>
                  <a:pt x="65423" y="455511"/>
                  <a:pt x="61109" y="459830"/>
                  <a:pt x="61109" y="465160"/>
                </a:cubicBezTo>
                <a:lnTo>
                  <a:pt x="61109" y="639210"/>
                </a:lnTo>
                <a:lnTo>
                  <a:pt x="24747" y="639210"/>
                </a:lnTo>
                <a:cubicBezTo>
                  <a:pt x="21814" y="639210"/>
                  <a:pt x="19423" y="636819"/>
                  <a:pt x="19423" y="633885"/>
                </a:cubicBezTo>
                <a:lnTo>
                  <a:pt x="19423" y="432972"/>
                </a:lnTo>
                <a:cubicBezTo>
                  <a:pt x="19423" y="403433"/>
                  <a:pt x="38857" y="380548"/>
                  <a:pt x="58311" y="372235"/>
                </a:cubicBezTo>
                <a:lnTo>
                  <a:pt x="100368" y="355930"/>
                </a:lnTo>
                <a:lnTo>
                  <a:pt x="94762" y="364520"/>
                </a:lnTo>
                <a:cubicBezTo>
                  <a:pt x="90031" y="371768"/>
                  <a:pt x="91251" y="381321"/>
                  <a:pt x="97671" y="387229"/>
                </a:cubicBezTo>
                <a:lnTo>
                  <a:pt x="127015" y="414263"/>
                </a:lnTo>
                <a:lnTo>
                  <a:pt x="110876" y="426603"/>
                </a:lnTo>
                <a:cubicBezTo>
                  <a:pt x="102869" y="432721"/>
                  <a:pt x="101448" y="443873"/>
                  <a:pt x="107586" y="451688"/>
                </a:cubicBezTo>
                <a:lnTo>
                  <a:pt x="126764" y="476099"/>
                </a:lnTo>
                <a:lnTo>
                  <a:pt x="126764" y="528604"/>
                </a:lnTo>
                <a:cubicBezTo>
                  <a:pt x="114292" y="532673"/>
                  <a:pt x="105255" y="544406"/>
                  <a:pt x="105255" y="558220"/>
                </a:cubicBezTo>
                <a:cubicBezTo>
                  <a:pt x="105255" y="575398"/>
                  <a:pt x="119229" y="589372"/>
                  <a:pt x="136407" y="589372"/>
                </a:cubicBezTo>
                <a:cubicBezTo>
                  <a:pt x="144826" y="589372"/>
                  <a:pt x="152466" y="586012"/>
                  <a:pt x="158077" y="580571"/>
                </a:cubicBezTo>
                <a:close/>
                <a:moveTo>
                  <a:pt x="136407" y="546356"/>
                </a:moveTo>
                <a:cubicBezTo>
                  <a:pt x="142952" y="546356"/>
                  <a:pt x="148272" y="551680"/>
                  <a:pt x="148272" y="558220"/>
                </a:cubicBezTo>
                <a:cubicBezTo>
                  <a:pt x="148272" y="564764"/>
                  <a:pt x="142952" y="570084"/>
                  <a:pt x="136407" y="570084"/>
                </a:cubicBezTo>
                <a:cubicBezTo>
                  <a:pt x="129868" y="570084"/>
                  <a:pt x="124543" y="564764"/>
                  <a:pt x="124543" y="558220"/>
                </a:cubicBezTo>
                <a:cubicBezTo>
                  <a:pt x="124543" y="551680"/>
                  <a:pt x="129868" y="546356"/>
                  <a:pt x="136407" y="546356"/>
                </a:cubicBezTo>
                <a:close/>
                <a:moveTo>
                  <a:pt x="158077" y="535868"/>
                </a:moveTo>
                <a:cubicBezTo>
                  <a:pt x="154711" y="532603"/>
                  <a:pt x="150612" y="530092"/>
                  <a:pt x="146051" y="528604"/>
                </a:cubicBezTo>
                <a:lnTo>
                  <a:pt x="146051" y="500647"/>
                </a:lnTo>
                <a:lnTo>
                  <a:pt x="158077" y="515947"/>
                </a:lnTo>
                <a:close/>
                <a:moveTo>
                  <a:pt x="158077" y="484724"/>
                </a:moveTo>
                <a:lnTo>
                  <a:pt x="123750" y="441040"/>
                </a:lnTo>
                <a:lnTo>
                  <a:pt x="140109" y="428527"/>
                </a:lnTo>
                <a:cubicBezTo>
                  <a:pt x="149020" y="421721"/>
                  <a:pt x="149613" y="408852"/>
                  <a:pt x="141410" y="401293"/>
                </a:cubicBezTo>
                <a:lnTo>
                  <a:pt x="111675" y="373898"/>
                </a:lnTo>
                <a:lnTo>
                  <a:pt x="131199" y="343976"/>
                </a:lnTo>
                <a:lnTo>
                  <a:pt x="158077" y="333554"/>
                </a:lnTo>
                <a:close/>
                <a:moveTo>
                  <a:pt x="324632" y="280371"/>
                </a:moveTo>
                <a:cubicBezTo>
                  <a:pt x="324632" y="283259"/>
                  <a:pt x="322282" y="285610"/>
                  <a:pt x="319393" y="285610"/>
                </a:cubicBezTo>
                <a:lnTo>
                  <a:pt x="278759" y="285610"/>
                </a:lnTo>
                <a:cubicBezTo>
                  <a:pt x="296550" y="271565"/>
                  <a:pt x="309142" y="250699"/>
                  <a:pt x="312281" y="226755"/>
                </a:cubicBezTo>
                <a:cubicBezTo>
                  <a:pt x="316466" y="226309"/>
                  <a:pt x="320750" y="225248"/>
                  <a:pt x="324632" y="223711"/>
                </a:cubicBezTo>
                <a:close/>
                <a:moveTo>
                  <a:pt x="332745" y="186044"/>
                </a:moveTo>
                <a:cubicBezTo>
                  <a:pt x="332745" y="196387"/>
                  <a:pt x="323612" y="204805"/>
                  <a:pt x="313080" y="207076"/>
                </a:cubicBezTo>
                <a:lnTo>
                  <a:pt x="313080" y="165014"/>
                </a:lnTo>
                <a:cubicBezTo>
                  <a:pt x="323498" y="167264"/>
                  <a:pt x="332745" y="175631"/>
                  <a:pt x="332745" y="186044"/>
                </a:cubicBezTo>
                <a:close/>
                <a:moveTo>
                  <a:pt x="124644" y="285610"/>
                </a:moveTo>
                <a:cubicBezTo>
                  <a:pt x="121756" y="285610"/>
                  <a:pt x="119405" y="283259"/>
                  <a:pt x="119405" y="280371"/>
                </a:cubicBezTo>
                <a:lnTo>
                  <a:pt x="119405" y="122032"/>
                </a:lnTo>
                <a:cubicBezTo>
                  <a:pt x="119405" y="65453"/>
                  <a:pt x="165436" y="19418"/>
                  <a:pt x="222019" y="19418"/>
                </a:cubicBezTo>
                <a:cubicBezTo>
                  <a:pt x="278603" y="19418"/>
                  <a:pt x="324632" y="65453"/>
                  <a:pt x="324632" y="122032"/>
                </a:cubicBezTo>
                <a:lnTo>
                  <a:pt x="324632" y="148382"/>
                </a:lnTo>
                <a:cubicBezTo>
                  <a:pt x="324592" y="148367"/>
                  <a:pt x="324552" y="148353"/>
                  <a:pt x="324513" y="148337"/>
                </a:cubicBezTo>
                <a:cubicBezTo>
                  <a:pt x="320765" y="146865"/>
                  <a:pt x="316787" y="145886"/>
                  <a:pt x="312980" y="145418"/>
                </a:cubicBezTo>
                <a:cubicBezTo>
                  <a:pt x="312247" y="138638"/>
                  <a:pt x="307499" y="132922"/>
                  <a:pt x="300959" y="130947"/>
                </a:cubicBezTo>
                <a:cubicBezTo>
                  <a:pt x="286172" y="126452"/>
                  <a:pt x="270138" y="116888"/>
                  <a:pt x="256647" y="102970"/>
                </a:cubicBezTo>
                <a:cubicBezTo>
                  <a:pt x="249645" y="95757"/>
                  <a:pt x="238046" y="96174"/>
                  <a:pt x="231532" y="103603"/>
                </a:cubicBezTo>
                <a:cubicBezTo>
                  <a:pt x="208025" y="130415"/>
                  <a:pt x="175465" y="156962"/>
                  <a:pt x="142124" y="169268"/>
                </a:cubicBezTo>
                <a:cubicBezTo>
                  <a:pt x="135443" y="171734"/>
                  <a:pt x="130957" y="178174"/>
                  <a:pt x="130957" y="185296"/>
                </a:cubicBezTo>
                <a:lnTo>
                  <a:pt x="130957" y="214997"/>
                </a:lnTo>
                <a:cubicBezTo>
                  <a:pt x="130957" y="242045"/>
                  <a:pt x="143158" y="268340"/>
                  <a:pt x="165315" y="285610"/>
                </a:cubicBezTo>
                <a:close/>
                <a:moveTo>
                  <a:pt x="265634" y="346884"/>
                </a:moveTo>
                <a:cubicBezTo>
                  <a:pt x="241985" y="372863"/>
                  <a:pt x="201038" y="372908"/>
                  <a:pt x="177365" y="346905"/>
                </a:cubicBezTo>
                <a:lnTo>
                  <a:pt x="177365" y="324979"/>
                </a:lnTo>
                <a:cubicBezTo>
                  <a:pt x="182503" y="320850"/>
                  <a:pt x="185683" y="314511"/>
                  <a:pt x="185683" y="307741"/>
                </a:cubicBezTo>
                <a:lnTo>
                  <a:pt x="185683" y="297523"/>
                </a:lnTo>
                <a:cubicBezTo>
                  <a:pt x="196763" y="302179"/>
                  <a:pt x="209823" y="304898"/>
                  <a:pt x="223174" y="304898"/>
                </a:cubicBezTo>
                <a:cubicBezTo>
                  <a:pt x="234676" y="304898"/>
                  <a:pt x="246842" y="302611"/>
                  <a:pt x="258190" y="297795"/>
                </a:cubicBezTo>
                <a:cubicBezTo>
                  <a:pt x="258199" y="297789"/>
                  <a:pt x="258209" y="297789"/>
                  <a:pt x="258219" y="297784"/>
                </a:cubicBezTo>
                <a:lnTo>
                  <a:pt x="258219" y="307736"/>
                </a:lnTo>
                <a:cubicBezTo>
                  <a:pt x="258219" y="314100"/>
                  <a:pt x="261031" y="320067"/>
                  <a:pt x="265634" y="324191"/>
                </a:cubicBezTo>
                <a:close/>
                <a:moveTo>
                  <a:pt x="223179" y="285610"/>
                </a:moveTo>
                <a:cubicBezTo>
                  <a:pt x="178234" y="285610"/>
                  <a:pt x="150246" y="250478"/>
                  <a:pt x="150246" y="214997"/>
                </a:cubicBezTo>
                <a:lnTo>
                  <a:pt x="150246" y="186824"/>
                </a:lnTo>
                <a:cubicBezTo>
                  <a:pt x="194523" y="169997"/>
                  <a:pt x="229825" y="134488"/>
                  <a:pt x="244467" y="118094"/>
                </a:cubicBezTo>
                <a:cubicBezTo>
                  <a:pt x="263387" y="136950"/>
                  <a:pt x="282841" y="145379"/>
                  <a:pt x="293787" y="148910"/>
                </a:cubicBezTo>
                <a:lnTo>
                  <a:pt x="293787" y="214997"/>
                </a:lnTo>
                <a:cubicBezTo>
                  <a:pt x="293787" y="253543"/>
                  <a:pt x="262419" y="285610"/>
                  <a:pt x="223179" y="285610"/>
                </a:cubicBezTo>
                <a:close/>
                <a:moveTo>
                  <a:pt x="297981" y="509623"/>
                </a:moveTo>
                <a:lnTo>
                  <a:pt x="293294" y="509623"/>
                </a:lnTo>
                <a:cubicBezTo>
                  <a:pt x="292074" y="509623"/>
                  <a:pt x="290878" y="509724"/>
                  <a:pt x="289697" y="509869"/>
                </a:cubicBezTo>
                <a:lnTo>
                  <a:pt x="297976" y="499326"/>
                </a:lnTo>
                <a:lnTo>
                  <a:pt x="297976" y="509623"/>
                </a:lnTo>
                <a:close/>
                <a:moveTo>
                  <a:pt x="301588" y="401293"/>
                </a:moveTo>
                <a:cubicBezTo>
                  <a:pt x="293375" y="408857"/>
                  <a:pt x="293987" y="421726"/>
                  <a:pt x="302888" y="428532"/>
                </a:cubicBezTo>
                <a:lnTo>
                  <a:pt x="319248" y="441040"/>
                </a:lnTo>
                <a:lnTo>
                  <a:pt x="284922" y="484729"/>
                </a:lnTo>
                <a:cubicBezTo>
                  <a:pt x="284922" y="478731"/>
                  <a:pt x="284922" y="339777"/>
                  <a:pt x="284922" y="333197"/>
                </a:cubicBezTo>
                <a:lnTo>
                  <a:pt x="311478" y="343484"/>
                </a:lnTo>
                <a:lnTo>
                  <a:pt x="331328" y="373903"/>
                </a:lnTo>
                <a:close/>
              </a:path>
            </a:pathLst>
          </a:custGeom>
          <a:solidFill>
            <a:schemeClr val="tx2"/>
          </a:solidFill>
          <a:ln w="12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5" name="Freeform: Shape 54">
            <a:extLst>
              <a:ext uri="{FF2B5EF4-FFF2-40B4-BE49-F238E27FC236}">
                <a16:creationId xmlns:a16="http://schemas.microsoft.com/office/drawing/2014/main" id="{93CD59B2-41BB-712D-1F55-2026A783546A}"/>
              </a:ext>
            </a:extLst>
          </p:cNvPr>
          <p:cNvSpPr>
            <a:spLocks noChangeAspect="1"/>
          </p:cNvSpPr>
          <p:nvPr/>
        </p:nvSpPr>
        <p:spPr>
          <a:xfrm>
            <a:off x="2306350" y="2278632"/>
            <a:ext cx="472308" cy="700708"/>
          </a:xfrm>
          <a:custGeom>
            <a:avLst/>
            <a:gdLst>
              <a:gd name="connsiteX0" fmla="*/ 356641 w 443768"/>
              <a:gd name="connsiteY0" fmla="*/ 488105 h 658369"/>
              <a:gd name="connsiteX1" fmla="*/ 366285 w 443768"/>
              <a:gd name="connsiteY1" fmla="*/ 497749 h 658369"/>
              <a:gd name="connsiteX2" fmla="*/ 366285 w 443768"/>
              <a:gd name="connsiteY2" fmla="*/ 639081 h 658369"/>
              <a:gd name="connsiteX3" fmla="*/ 419151 w 443768"/>
              <a:gd name="connsiteY3" fmla="*/ 639081 h 658369"/>
              <a:gd name="connsiteX4" fmla="*/ 424480 w 443768"/>
              <a:gd name="connsiteY4" fmla="*/ 633751 h 658369"/>
              <a:gd name="connsiteX5" fmla="*/ 424480 w 443768"/>
              <a:gd name="connsiteY5" fmla="*/ 548487 h 658369"/>
              <a:gd name="connsiteX6" fmla="*/ 434124 w 443768"/>
              <a:gd name="connsiteY6" fmla="*/ 538843 h 658369"/>
              <a:gd name="connsiteX7" fmla="*/ 443768 w 443768"/>
              <a:gd name="connsiteY7" fmla="*/ 548492 h 658369"/>
              <a:gd name="connsiteX8" fmla="*/ 443768 w 443768"/>
              <a:gd name="connsiteY8" fmla="*/ 633756 h 658369"/>
              <a:gd name="connsiteX9" fmla="*/ 419151 w 443768"/>
              <a:gd name="connsiteY9" fmla="*/ 658369 h 658369"/>
              <a:gd name="connsiteX10" fmla="*/ 244387 w 443768"/>
              <a:gd name="connsiteY10" fmla="*/ 658369 h 658369"/>
              <a:gd name="connsiteX11" fmla="*/ 234743 w 443768"/>
              <a:gd name="connsiteY11" fmla="*/ 648725 h 658369"/>
              <a:gd name="connsiteX12" fmla="*/ 244387 w 443768"/>
              <a:gd name="connsiteY12" fmla="*/ 639081 h 658369"/>
              <a:gd name="connsiteX13" fmla="*/ 346997 w 443768"/>
              <a:gd name="connsiteY13" fmla="*/ 639081 h 658369"/>
              <a:gd name="connsiteX14" fmla="*/ 346997 w 443768"/>
              <a:gd name="connsiteY14" fmla="*/ 497749 h 658369"/>
              <a:gd name="connsiteX15" fmla="*/ 356641 w 443768"/>
              <a:gd name="connsiteY15" fmla="*/ 488105 h 658369"/>
              <a:gd name="connsiteX16" fmla="*/ 270833 w 443768"/>
              <a:gd name="connsiteY16" fmla="*/ 327617 h 658369"/>
              <a:gd name="connsiteX17" fmla="*/ 229379 w 443768"/>
              <a:gd name="connsiteY17" fmla="*/ 378785 h 658369"/>
              <a:gd name="connsiteX18" fmla="*/ 229314 w 443768"/>
              <a:gd name="connsiteY18" fmla="*/ 378861 h 658369"/>
              <a:gd name="connsiteX19" fmla="*/ 214324 w 443768"/>
              <a:gd name="connsiteY19" fmla="*/ 378866 h 658369"/>
              <a:gd name="connsiteX20" fmla="*/ 172834 w 443768"/>
              <a:gd name="connsiteY20" fmla="*/ 327653 h 658369"/>
              <a:gd name="connsiteX21" fmla="*/ 159538 w 443768"/>
              <a:gd name="connsiteY21" fmla="*/ 332805 h 658369"/>
              <a:gd name="connsiteX22" fmla="*/ 214580 w 443768"/>
              <a:gd name="connsiteY22" fmla="*/ 400746 h 658369"/>
              <a:gd name="connsiteX23" fmla="*/ 229188 w 443768"/>
              <a:gd name="connsiteY23" fmla="*/ 400746 h 658369"/>
              <a:gd name="connsiteX24" fmla="*/ 284230 w 443768"/>
              <a:gd name="connsiteY24" fmla="*/ 332810 h 658369"/>
              <a:gd name="connsiteX25" fmla="*/ 258085 w 443768"/>
              <a:gd name="connsiteY25" fmla="*/ 293968 h 658369"/>
              <a:gd name="connsiteX26" fmla="*/ 185548 w 443768"/>
              <a:gd name="connsiteY26" fmla="*/ 294571 h 658369"/>
              <a:gd name="connsiteX27" fmla="*/ 185548 w 443768"/>
              <a:gd name="connsiteY27" fmla="*/ 312538 h 658369"/>
              <a:gd name="connsiteX28" fmla="*/ 221879 w 443768"/>
              <a:gd name="connsiteY28" fmla="*/ 357388 h 658369"/>
              <a:gd name="connsiteX29" fmla="*/ 258085 w 443768"/>
              <a:gd name="connsiteY29" fmla="*/ 312704 h 658369"/>
              <a:gd name="connsiteX30" fmla="*/ 129306 w 443768"/>
              <a:gd name="connsiteY30" fmla="*/ 160966 h 658369"/>
              <a:gd name="connsiteX31" fmla="*/ 110661 w 443768"/>
              <a:gd name="connsiteY31" fmla="*/ 182001 h 658369"/>
              <a:gd name="connsiteX32" fmla="*/ 129306 w 443768"/>
              <a:gd name="connsiteY32" fmla="*/ 203524 h 658369"/>
              <a:gd name="connsiteX33" fmla="*/ 312384 w 443768"/>
              <a:gd name="connsiteY33" fmla="*/ 160478 h 658369"/>
              <a:gd name="connsiteX34" fmla="*/ 312384 w 443768"/>
              <a:gd name="connsiteY34" fmla="*/ 203524 h 658369"/>
              <a:gd name="connsiteX35" fmla="*/ 331029 w 443768"/>
              <a:gd name="connsiteY35" fmla="*/ 182001 h 658369"/>
              <a:gd name="connsiteX36" fmla="*/ 312384 w 443768"/>
              <a:gd name="connsiteY36" fmla="*/ 160478 h 658369"/>
              <a:gd name="connsiteX37" fmla="*/ 198894 w 443768"/>
              <a:gd name="connsiteY37" fmla="*/ 119436 h 658369"/>
              <a:gd name="connsiteX38" fmla="*/ 148594 w 443768"/>
              <a:gd name="connsiteY38" fmla="*/ 123349 h 658369"/>
              <a:gd name="connsiteX39" fmla="*/ 148594 w 443768"/>
              <a:gd name="connsiteY39" fmla="*/ 211120 h 658369"/>
              <a:gd name="connsiteX40" fmla="*/ 220845 w 443768"/>
              <a:gd name="connsiteY40" fmla="*/ 282170 h 658369"/>
              <a:gd name="connsiteX41" fmla="*/ 293096 w 443768"/>
              <a:gd name="connsiteY41" fmla="*/ 211139 h 658369"/>
              <a:gd name="connsiteX42" fmla="*/ 293096 w 443768"/>
              <a:gd name="connsiteY42" fmla="*/ 123349 h 658369"/>
              <a:gd name="connsiteX43" fmla="*/ 242800 w 443768"/>
              <a:gd name="connsiteY43" fmla="*/ 119436 h 658369"/>
              <a:gd name="connsiteX44" fmla="*/ 198894 w 443768"/>
              <a:gd name="connsiteY44" fmla="*/ 119436 h 658369"/>
              <a:gd name="connsiteX45" fmla="*/ 220839 w 443768"/>
              <a:gd name="connsiteY45" fmla="*/ 19288 h 658369"/>
              <a:gd name="connsiteX46" fmla="*/ 120606 w 443768"/>
              <a:gd name="connsiteY46" fmla="*/ 119526 h 658369"/>
              <a:gd name="connsiteX47" fmla="*/ 120601 w 443768"/>
              <a:gd name="connsiteY47" fmla="*/ 119526 h 658369"/>
              <a:gd name="connsiteX48" fmla="*/ 120601 w 443768"/>
              <a:gd name="connsiteY48" fmla="*/ 143390 h 658369"/>
              <a:gd name="connsiteX49" fmla="*/ 121766 w 443768"/>
              <a:gd name="connsiteY49" fmla="*/ 143024 h 658369"/>
              <a:gd name="connsiteX50" fmla="*/ 121771 w 443768"/>
              <a:gd name="connsiteY50" fmla="*/ 143024 h 658369"/>
              <a:gd name="connsiteX51" fmla="*/ 128622 w 443768"/>
              <a:gd name="connsiteY51" fmla="*/ 141481 h 658369"/>
              <a:gd name="connsiteX52" fmla="*/ 128627 w 443768"/>
              <a:gd name="connsiteY52" fmla="*/ 141481 h 658369"/>
              <a:gd name="connsiteX53" fmla="*/ 129301 w 443768"/>
              <a:gd name="connsiteY53" fmla="*/ 141376 h 658369"/>
              <a:gd name="connsiteX54" fmla="*/ 129301 w 443768"/>
              <a:gd name="connsiteY54" fmla="*/ 121043 h 658369"/>
              <a:gd name="connsiteX55" fmla="*/ 147705 w 443768"/>
              <a:gd name="connsiteY55" fmla="*/ 103960 h 658369"/>
              <a:gd name="connsiteX56" fmla="*/ 194931 w 443768"/>
              <a:gd name="connsiteY56" fmla="*/ 100554 h 658369"/>
              <a:gd name="connsiteX57" fmla="*/ 246754 w 443768"/>
              <a:gd name="connsiteY57" fmla="*/ 100554 h 658369"/>
              <a:gd name="connsiteX58" fmla="*/ 306893 w 443768"/>
              <a:gd name="connsiteY58" fmla="*/ 108481 h 658369"/>
              <a:gd name="connsiteX59" fmla="*/ 312384 w 443768"/>
              <a:gd name="connsiteY59" fmla="*/ 121043 h 658369"/>
              <a:gd name="connsiteX60" fmla="*/ 312384 w 443768"/>
              <a:gd name="connsiteY60" fmla="*/ 141049 h 658369"/>
              <a:gd name="connsiteX61" fmla="*/ 321078 w 443768"/>
              <a:gd name="connsiteY61" fmla="*/ 142727 h 658369"/>
              <a:gd name="connsiteX62" fmla="*/ 321078 w 443768"/>
              <a:gd name="connsiteY62" fmla="*/ 119526 h 658369"/>
              <a:gd name="connsiteX63" fmla="*/ 220839 w 443768"/>
              <a:gd name="connsiteY63" fmla="*/ 19288 h 658369"/>
              <a:gd name="connsiteX64" fmla="*/ 220839 w 443768"/>
              <a:gd name="connsiteY64" fmla="*/ 0 h 658369"/>
              <a:gd name="connsiteX65" fmla="*/ 340366 w 443768"/>
              <a:gd name="connsiteY65" fmla="*/ 119526 h 658369"/>
              <a:gd name="connsiteX66" fmla="*/ 340366 w 443768"/>
              <a:gd name="connsiteY66" fmla="*/ 155249 h 658369"/>
              <a:gd name="connsiteX67" fmla="*/ 350317 w 443768"/>
              <a:gd name="connsiteY67" fmla="*/ 182001 h 658369"/>
              <a:gd name="connsiteX68" fmla="*/ 311594 w 443768"/>
              <a:gd name="connsiteY68" fmla="*/ 223029 h 658369"/>
              <a:gd name="connsiteX69" fmla="*/ 277373 w 443768"/>
              <a:gd name="connsiteY69" fmla="*/ 282450 h 658369"/>
              <a:gd name="connsiteX70" fmla="*/ 277373 w 443768"/>
              <a:gd name="connsiteY70" fmla="*/ 309464 h 658369"/>
              <a:gd name="connsiteX71" fmla="*/ 392685 w 443768"/>
              <a:gd name="connsiteY71" fmla="*/ 354163 h 658369"/>
              <a:gd name="connsiteX72" fmla="*/ 392865 w 443768"/>
              <a:gd name="connsiteY72" fmla="*/ 354238 h 658369"/>
              <a:gd name="connsiteX73" fmla="*/ 443763 w 443768"/>
              <a:gd name="connsiteY73" fmla="*/ 432842 h 658369"/>
              <a:gd name="connsiteX74" fmla="*/ 443763 w 443768"/>
              <a:gd name="connsiteY74" fmla="*/ 503480 h 658369"/>
              <a:gd name="connsiteX75" fmla="*/ 434119 w 443768"/>
              <a:gd name="connsiteY75" fmla="*/ 513125 h 658369"/>
              <a:gd name="connsiteX76" fmla="*/ 424475 w 443768"/>
              <a:gd name="connsiteY76" fmla="*/ 503480 h 658369"/>
              <a:gd name="connsiteX77" fmla="*/ 424475 w 443768"/>
              <a:gd name="connsiteY77" fmla="*/ 432842 h 658369"/>
              <a:gd name="connsiteX78" fmla="*/ 385587 w 443768"/>
              <a:gd name="connsiteY78" fmla="*/ 372105 h 658369"/>
              <a:gd name="connsiteX79" fmla="*/ 303120 w 443768"/>
              <a:gd name="connsiteY79" fmla="*/ 340134 h 658369"/>
              <a:gd name="connsiteX80" fmla="*/ 244177 w 443768"/>
              <a:gd name="connsiteY80" fmla="*/ 412892 h 658369"/>
              <a:gd name="connsiteX81" fmla="*/ 199592 w 443768"/>
              <a:gd name="connsiteY81" fmla="*/ 412892 h 658369"/>
              <a:gd name="connsiteX82" fmla="*/ 140648 w 443768"/>
              <a:gd name="connsiteY82" fmla="*/ 340129 h 658369"/>
              <a:gd name="connsiteX83" fmla="*/ 58181 w 443768"/>
              <a:gd name="connsiteY83" fmla="*/ 372100 h 658369"/>
              <a:gd name="connsiteX84" fmla="*/ 19288 w 443768"/>
              <a:gd name="connsiteY84" fmla="*/ 432842 h 658369"/>
              <a:gd name="connsiteX85" fmla="*/ 19288 w 443768"/>
              <a:gd name="connsiteY85" fmla="*/ 633755 h 658369"/>
              <a:gd name="connsiteX86" fmla="*/ 24617 w 443768"/>
              <a:gd name="connsiteY86" fmla="*/ 639080 h 658369"/>
              <a:gd name="connsiteX87" fmla="*/ 75399 w 443768"/>
              <a:gd name="connsiteY87" fmla="*/ 639080 h 658369"/>
              <a:gd name="connsiteX88" fmla="*/ 75399 w 443768"/>
              <a:gd name="connsiteY88" fmla="*/ 504626 h 658369"/>
              <a:gd name="connsiteX89" fmla="*/ 85044 w 443768"/>
              <a:gd name="connsiteY89" fmla="*/ 494982 h 658369"/>
              <a:gd name="connsiteX90" fmla="*/ 94693 w 443768"/>
              <a:gd name="connsiteY90" fmla="*/ 504626 h 658369"/>
              <a:gd name="connsiteX91" fmla="*/ 94693 w 443768"/>
              <a:gd name="connsiteY91" fmla="*/ 639080 h 658369"/>
              <a:gd name="connsiteX92" fmla="*/ 199381 w 443768"/>
              <a:gd name="connsiteY92" fmla="*/ 639080 h 658369"/>
              <a:gd name="connsiteX93" fmla="*/ 209025 w 443768"/>
              <a:gd name="connsiteY93" fmla="*/ 648724 h 658369"/>
              <a:gd name="connsiteX94" fmla="*/ 199381 w 443768"/>
              <a:gd name="connsiteY94" fmla="*/ 658368 h 658369"/>
              <a:gd name="connsiteX95" fmla="*/ 24617 w 443768"/>
              <a:gd name="connsiteY95" fmla="*/ 658368 h 658369"/>
              <a:gd name="connsiteX96" fmla="*/ 0 w 443768"/>
              <a:gd name="connsiteY96" fmla="*/ 633755 h 658369"/>
              <a:gd name="connsiteX97" fmla="*/ 0 w 443768"/>
              <a:gd name="connsiteY97" fmla="*/ 432842 h 658369"/>
              <a:gd name="connsiteX98" fmla="*/ 50902 w 443768"/>
              <a:gd name="connsiteY98" fmla="*/ 354238 h 658369"/>
              <a:gd name="connsiteX99" fmla="*/ 51083 w 443768"/>
              <a:gd name="connsiteY99" fmla="*/ 354169 h 658369"/>
              <a:gd name="connsiteX100" fmla="*/ 166260 w 443768"/>
              <a:gd name="connsiteY100" fmla="*/ 309514 h 658369"/>
              <a:gd name="connsiteX101" fmla="*/ 166260 w 443768"/>
              <a:gd name="connsiteY101" fmla="*/ 283892 h 658369"/>
              <a:gd name="connsiteX102" fmla="*/ 130095 w 443768"/>
              <a:gd name="connsiteY102" fmla="*/ 223029 h 658369"/>
              <a:gd name="connsiteX103" fmla="*/ 91372 w 443768"/>
              <a:gd name="connsiteY103" fmla="*/ 182001 h 658369"/>
              <a:gd name="connsiteX104" fmla="*/ 101318 w 443768"/>
              <a:gd name="connsiteY104" fmla="*/ 156189 h 658369"/>
              <a:gd name="connsiteX105" fmla="*/ 101318 w 443768"/>
              <a:gd name="connsiteY105" fmla="*/ 119526 h 658369"/>
              <a:gd name="connsiteX106" fmla="*/ 220839 w 443768"/>
              <a:gd name="connsiteY106" fmla="*/ 0 h 658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</a:cxnLst>
            <a:rect l="l" t="t" r="r" b="b"/>
            <a:pathLst>
              <a:path w="443768" h="658369">
                <a:moveTo>
                  <a:pt x="356641" y="488105"/>
                </a:moveTo>
                <a:cubicBezTo>
                  <a:pt x="361965" y="488105"/>
                  <a:pt x="366285" y="492424"/>
                  <a:pt x="366285" y="497749"/>
                </a:cubicBezTo>
                <a:lnTo>
                  <a:pt x="366285" y="639081"/>
                </a:lnTo>
                <a:lnTo>
                  <a:pt x="419151" y="639081"/>
                </a:lnTo>
                <a:cubicBezTo>
                  <a:pt x="422090" y="639081"/>
                  <a:pt x="424480" y="636690"/>
                  <a:pt x="424480" y="633751"/>
                </a:cubicBezTo>
                <a:lnTo>
                  <a:pt x="424480" y="548487"/>
                </a:lnTo>
                <a:cubicBezTo>
                  <a:pt x="424480" y="543162"/>
                  <a:pt x="428795" y="538843"/>
                  <a:pt x="434124" y="538843"/>
                </a:cubicBezTo>
                <a:cubicBezTo>
                  <a:pt x="439449" y="538843"/>
                  <a:pt x="443768" y="543162"/>
                  <a:pt x="443768" y="548492"/>
                </a:cubicBezTo>
                <a:lnTo>
                  <a:pt x="443768" y="633756"/>
                </a:lnTo>
                <a:cubicBezTo>
                  <a:pt x="443768" y="647328"/>
                  <a:pt x="432724" y="658369"/>
                  <a:pt x="419151" y="658369"/>
                </a:cubicBezTo>
                <a:lnTo>
                  <a:pt x="244387" y="658369"/>
                </a:lnTo>
                <a:cubicBezTo>
                  <a:pt x="239062" y="658369"/>
                  <a:pt x="234743" y="654049"/>
                  <a:pt x="234743" y="648725"/>
                </a:cubicBezTo>
                <a:cubicBezTo>
                  <a:pt x="234743" y="643395"/>
                  <a:pt x="239062" y="639081"/>
                  <a:pt x="244387" y="639081"/>
                </a:cubicBezTo>
                <a:lnTo>
                  <a:pt x="346997" y="639081"/>
                </a:lnTo>
                <a:lnTo>
                  <a:pt x="346997" y="497749"/>
                </a:lnTo>
                <a:cubicBezTo>
                  <a:pt x="346997" y="492424"/>
                  <a:pt x="351311" y="488105"/>
                  <a:pt x="356641" y="488105"/>
                </a:cubicBezTo>
                <a:close/>
                <a:moveTo>
                  <a:pt x="270833" y="327617"/>
                </a:moveTo>
                <a:cubicBezTo>
                  <a:pt x="252349" y="350436"/>
                  <a:pt x="261958" y="338572"/>
                  <a:pt x="229379" y="378785"/>
                </a:cubicBezTo>
                <a:cubicBezTo>
                  <a:pt x="229359" y="378811"/>
                  <a:pt x="229334" y="378835"/>
                  <a:pt x="229314" y="378861"/>
                </a:cubicBezTo>
                <a:cubicBezTo>
                  <a:pt x="225200" y="383794"/>
                  <a:pt x="218046" y="383457"/>
                  <a:pt x="214324" y="378866"/>
                </a:cubicBezTo>
                <a:lnTo>
                  <a:pt x="172834" y="327653"/>
                </a:lnTo>
                <a:lnTo>
                  <a:pt x="159538" y="332805"/>
                </a:lnTo>
                <a:lnTo>
                  <a:pt x="214580" y="400746"/>
                </a:lnTo>
                <a:cubicBezTo>
                  <a:pt x="218339" y="405388"/>
                  <a:pt x="225421" y="405398"/>
                  <a:pt x="229188" y="400746"/>
                </a:cubicBezTo>
                <a:lnTo>
                  <a:pt x="284230" y="332810"/>
                </a:lnTo>
                <a:close/>
                <a:moveTo>
                  <a:pt x="258085" y="293968"/>
                </a:moveTo>
                <a:cubicBezTo>
                  <a:pt x="234186" y="304426"/>
                  <a:pt x="207076" y="303240"/>
                  <a:pt x="185548" y="294571"/>
                </a:cubicBezTo>
                <a:lnTo>
                  <a:pt x="185548" y="312538"/>
                </a:lnTo>
                <a:lnTo>
                  <a:pt x="221879" y="357388"/>
                </a:lnTo>
                <a:lnTo>
                  <a:pt x="258085" y="312704"/>
                </a:lnTo>
                <a:close/>
                <a:moveTo>
                  <a:pt x="129306" y="160966"/>
                </a:moveTo>
                <a:cubicBezTo>
                  <a:pt x="119220" y="163296"/>
                  <a:pt x="110661" y="171690"/>
                  <a:pt x="110661" y="182001"/>
                </a:cubicBezTo>
                <a:cubicBezTo>
                  <a:pt x="110661" y="192434"/>
                  <a:pt x="118094" y="201706"/>
                  <a:pt x="129306" y="203524"/>
                </a:cubicBezTo>
                <a:close/>
                <a:moveTo>
                  <a:pt x="312384" y="160478"/>
                </a:moveTo>
                <a:lnTo>
                  <a:pt x="312384" y="203524"/>
                </a:lnTo>
                <a:cubicBezTo>
                  <a:pt x="323428" y="201727"/>
                  <a:pt x="331029" y="192605"/>
                  <a:pt x="331029" y="182001"/>
                </a:cubicBezTo>
                <a:cubicBezTo>
                  <a:pt x="331029" y="171514"/>
                  <a:pt x="323499" y="162286"/>
                  <a:pt x="312384" y="160478"/>
                </a:cubicBezTo>
                <a:close/>
                <a:moveTo>
                  <a:pt x="198894" y="119436"/>
                </a:moveTo>
                <a:cubicBezTo>
                  <a:pt x="181901" y="122997"/>
                  <a:pt x="164989" y="124308"/>
                  <a:pt x="148594" y="123349"/>
                </a:cubicBezTo>
                <a:cubicBezTo>
                  <a:pt x="148594" y="132817"/>
                  <a:pt x="148594" y="201722"/>
                  <a:pt x="148594" y="211120"/>
                </a:cubicBezTo>
                <a:cubicBezTo>
                  <a:pt x="148594" y="250886"/>
                  <a:pt x="179545" y="281612"/>
                  <a:pt x="220845" y="282170"/>
                </a:cubicBezTo>
                <a:cubicBezTo>
                  <a:pt x="262079" y="281612"/>
                  <a:pt x="293054" y="251017"/>
                  <a:pt x="293096" y="211139"/>
                </a:cubicBezTo>
                <a:lnTo>
                  <a:pt x="293096" y="123349"/>
                </a:lnTo>
                <a:cubicBezTo>
                  <a:pt x="276208" y="124338"/>
                  <a:pt x="259221" y="122876"/>
                  <a:pt x="242800" y="119436"/>
                </a:cubicBezTo>
                <a:cubicBezTo>
                  <a:pt x="228228" y="116382"/>
                  <a:pt x="213455" y="116382"/>
                  <a:pt x="198894" y="119436"/>
                </a:cubicBezTo>
                <a:close/>
                <a:moveTo>
                  <a:pt x="220839" y="19288"/>
                </a:moveTo>
                <a:cubicBezTo>
                  <a:pt x="165572" y="19288"/>
                  <a:pt x="120606" y="64254"/>
                  <a:pt x="120606" y="119526"/>
                </a:cubicBezTo>
                <a:lnTo>
                  <a:pt x="120601" y="119526"/>
                </a:lnTo>
                <a:lnTo>
                  <a:pt x="120601" y="143390"/>
                </a:lnTo>
                <a:cubicBezTo>
                  <a:pt x="120988" y="143259"/>
                  <a:pt x="121380" y="143144"/>
                  <a:pt x="121766" y="143024"/>
                </a:cubicBezTo>
                <a:lnTo>
                  <a:pt x="121771" y="143024"/>
                </a:lnTo>
                <a:cubicBezTo>
                  <a:pt x="124017" y="142331"/>
                  <a:pt x="126307" y="141813"/>
                  <a:pt x="128622" y="141481"/>
                </a:cubicBezTo>
                <a:cubicBezTo>
                  <a:pt x="128627" y="141481"/>
                  <a:pt x="128627" y="141481"/>
                  <a:pt x="128627" y="141481"/>
                </a:cubicBezTo>
                <a:cubicBezTo>
                  <a:pt x="128854" y="141446"/>
                  <a:pt x="129075" y="141401"/>
                  <a:pt x="129301" y="141376"/>
                </a:cubicBezTo>
                <a:lnTo>
                  <a:pt x="129301" y="121043"/>
                </a:lnTo>
                <a:cubicBezTo>
                  <a:pt x="129301" y="111087"/>
                  <a:pt x="137799" y="103222"/>
                  <a:pt x="147705" y="103960"/>
                </a:cubicBezTo>
                <a:cubicBezTo>
                  <a:pt x="162990" y="105060"/>
                  <a:pt x="178897" y="103915"/>
                  <a:pt x="194931" y="100554"/>
                </a:cubicBezTo>
                <a:cubicBezTo>
                  <a:pt x="212124" y="96953"/>
                  <a:pt x="229559" y="96953"/>
                  <a:pt x="246754" y="100554"/>
                </a:cubicBezTo>
                <a:cubicBezTo>
                  <a:pt x="288388" y="109279"/>
                  <a:pt x="296360" y="98706"/>
                  <a:pt x="306893" y="108481"/>
                </a:cubicBezTo>
                <a:cubicBezTo>
                  <a:pt x="310379" y="111715"/>
                  <a:pt x="312384" y="116291"/>
                  <a:pt x="312384" y="121043"/>
                </a:cubicBezTo>
                <a:lnTo>
                  <a:pt x="312384" y="141049"/>
                </a:lnTo>
                <a:cubicBezTo>
                  <a:pt x="315367" y="141311"/>
                  <a:pt x="318276" y="141873"/>
                  <a:pt x="321078" y="142727"/>
                </a:cubicBezTo>
                <a:lnTo>
                  <a:pt x="321078" y="119526"/>
                </a:lnTo>
                <a:cubicBezTo>
                  <a:pt x="321078" y="64254"/>
                  <a:pt x="276113" y="19288"/>
                  <a:pt x="220839" y="19288"/>
                </a:cubicBezTo>
                <a:close/>
                <a:moveTo>
                  <a:pt x="220839" y="0"/>
                </a:moveTo>
                <a:cubicBezTo>
                  <a:pt x="286746" y="0"/>
                  <a:pt x="340366" y="53620"/>
                  <a:pt x="340366" y="119526"/>
                </a:cubicBezTo>
                <a:lnTo>
                  <a:pt x="340366" y="155249"/>
                </a:lnTo>
                <a:cubicBezTo>
                  <a:pt x="346740" y="162623"/>
                  <a:pt x="350317" y="172091"/>
                  <a:pt x="350317" y="182001"/>
                </a:cubicBezTo>
                <a:cubicBezTo>
                  <a:pt x="350317" y="203405"/>
                  <a:pt x="333857" y="221447"/>
                  <a:pt x="311594" y="223029"/>
                </a:cubicBezTo>
                <a:cubicBezTo>
                  <a:pt x="308556" y="246501"/>
                  <a:pt x="296566" y="267768"/>
                  <a:pt x="277373" y="282450"/>
                </a:cubicBezTo>
                <a:lnTo>
                  <a:pt x="277373" y="309464"/>
                </a:lnTo>
                <a:cubicBezTo>
                  <a:pt x="300725" y="318515"/>
                  <a:pt x="369343" y="345117"/>
                  <a:pt x="392685" y="354163"/>
                </a:cubicBezTo>
                <a:cubicBezTo>
                  <a:pt x="392746" y="354188"/>
                  <a:pt x="392806" y="354214"/>
                  <a:pt x="392865" y="354238"/>
                </a:cubicBezTo>
                <a:cubicBezTo>
                  <a:pt x="394946" y="355092"/>
                  <a:pt x="443768" y="375823"/>
                  <a:pt x="443763" y="432842"/>
                </a:cubicBezTo>
                <a:lnTo>
                  <a:pt x="443763" y="503480"/>
                </a:lnTo>
                <a:cubicBezTo>
                  <a:pt x="443763" y="508809"/>
                  <a:pt x="439449" y="513125"/>
                  <a:pt x="434119" y="513125"/>
                </a:cubicBezTo>
                <a:cubicBezTo>
                  <a:pt x="428795" y="513125"/>
                  <a:pt x="424475" y="508809"/>
                  <a:pt x="424475" y="503480"/>
                </a:cubicBezTo>
                <a:lnTo>
                  <a:pt x="424475" y="432842"/>
                </a:lnTo>
                <a:cubicBezTo>
                  <a:pt x="424475" y="389389"/>
                  <a:pt x="387281" y="372833"/>
                  <a:pt x="385587" y="372105"/>
                </a:cubicBezTo>
                <a:lnTo>
                  <a:pt x="303120" y="340134"/>
                </a:lnTo>
                <a:lnTo>
                  <a:pt x="244177" y="412892"/>
                </a:lnTo>
                <a:cubicBezTo>
                  <a:pt x="232704" y="427051"/>
                  <a:pt x="211084" y="427076"/>
                  <a:pt x="199592" y="412892"/>
                </a:cubicBezTo>
                <a:lnTo>
                  <a:pt x="140648" y="340129"/>
                </a:lnTo>
                <a:lnTo>
                  <a:pt x="58181" y="372100"/>
                </a:lnTo>
                <a:cubicBezTo>
                  <a:pt x="55951" y="373054"/>
                  <a:pt x="19288" y="389404"/>
                  <a:pt x="19288" y="432842"/>
                </a:cubicBezTo>
                <a:lnTo>
                  <a:pt x="19288" y="633755"/>
                </a:lnTo>
                <a:cubicBezTo>
                  <a:pt x="19288" y="636689"/>
                  <a:pt x="21679" y="639080"/>
                  <a:pt x="24617" y="639080"/>
                </a:cubicBezTo>
                <a:lnTo>
                  <a:pt x="75399" y="639080"/>
                </a:lnTo>
                <a:lnTo>
                  <a:pt x="75399" y="504626"/>
                </a:lnTo>
                <a:cubicBezTo>
                  <a:pt x="75399" y="499301"/>
                  <a:pt x="79719" y="494982"/>
                  <a:pt x="85044" y="494982"/>
                </a:cubicBezTo>
                <a:cubicBezTo>
                  <a:pt x="90373" y="494982"/>
                  <a:pt x="94693" y="499301"/>
                  <a:pt x="94693" y="504626"/>
                </a:cubicBezTo>
                <a:lnTo>
                  <a:pt x="94693" y="639080"/>
                </a:lnTo>
                <a:lnTo>
                  <a:pt x="199381" y="639080"/>
                </a:lnTo>
                <a:cubicBezTo>
                  <a:pt x="204705" y="639080"/>
                  <a:pt x="209025" y="643399"/>
                  <a:pt x="209025" y="648724"/>
                </a:cubicBezTo>
                <a:cubicBezTo>
                  <a:pt x="209025" y="654054"/>
                  <a:pt x="204705" y="658368"/>
                  <a:pt x="199381" y="658368"/>
                </a:cubicBezTo>
                <a:lnTo>
                  <a:pt x="24617" y="658368"/>
                </a:lnTo>
                <a:cubicBezTo>
                  <a:pt x="11045" y="658368"/>
                  <a:pt x="0" y="647327"/>
                  <a:pt x="0" y="633755"/>
                </a:cubicBezTo>
                <a:lnTo>
                  <a:pt x="0" y="432842"/>
                </a:lnTo>
                <a:cubicBezTo>
                  <a:pt x="0" y="375823"/>
                  <a:pt x="48823" y="355092"/>
                  <a:pt x="50902" y="354238"/>
                </a:cubicBezTo>
                <a:cubicBezTo>
                  <a:pt x="50963" y="354214"/>
                  <a:pt x="51023" y="354188"/>
                  <a:pt x="51083" y="354169"/>
                </a:cubicBezTo>
                <a:lnTo>
                  <a:pt x="166260" y="309514"/>
                </a:lnTo>
                <a:lnTo>
                  <a:pt x="166260" y="283892"/>
                </a:lnTo>
                <a:cubicBezTo>
                  <a:pt x="146102" y="269315"/>
                  <a:pt x="133259" y="247446"/>
                  <a:pt x="130095" y="223029"/>
                </a:cubicBezTo>
                <a:cubicBezTo>
                  <a:pt x="107757" y="221447"/>
                  <a:pt x="91372" y="203334"/>
                  <a:pt x="91372" y="182001"/>
                </a:cubicBezTo>
                <a:cubicBezTo>
                  <a:pt x="91372" y="172473"/>
                  <a:pt x="94874" y="163487"/>
                  <a:pt x="101318" y="156189"/>
                </a:cubicBezTo>
                <a:lnTo>
                  <a:pt x="101318" y="119526"/>
                </a:lnTo>
                <a:cubicBezTo>
                  <a:pt x="101318" y="53620"/>
                  <a:pt x="154932" y="0"/>
                  <a:pt x="220839" y="0"/>
                </a:cubicBezTo>
                <a:close/>
              </a:path>
            </a:pathLst>
          </a:custGeom>
          <a:solidFill>
            <a:schemeClr val="tx2"/>
          </a:solidFill>
          <a:ln w="128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7368C0D1-8A65-3CCC-0D4C-0FE1464979D5}"/>
              </a:ext>
            </a:extLst>
          </p:cNvPr>
          <p:cNvSpPr>
            <a:spLocks noChangeAspect="1"/>
          </p:cNvSpPr>
          <p:nvPr/>
        </p:nvSpPr>
        <p:spPr>
          <a:xfrm>
            <a:off x="1715293" y="2273510"/>
            <a:ext cx="479512" cy="710952"/>
          </a:xfrm>
          <a:custGeom>
            <a:avLst/>
            <a:gdLst>
              <a:gd name="connsiteX0" fmla="*/ 435085 w 444912"/>
              <a:gd name="connsiteY0" fmla="*/ 534401 h 659653"/>
              <a:gd name="connsiteX1" fmla="*/ 425441 w 444912"/>
              <a:gd name="connsiteY1" fmla="*/ 544045 h 659653"/>
              <a:gd name="connsiteX2" fmla="*/ 425441 w 444912"/>
              <a:gd name="connsiteY2" fmla="*/ 634717 h 659653"/>
              <a:gd name="connsiteX3" fmla="*/ 420116 w 444912"/>
              <a:gd name="connsiteY3" fmla="*/ 640042 h 659653"/>
              <a:gd name="connsiteX4" fmla="*/ 368273 w 444912"/>
              <a:gd name="connsiteY4" fmla="*/ 640042 h 659653"/>
              <a:gd name="connsiteX5" fmla="*/ 368273 w 444912"/>
              <a:gd name="connsiteY5" fmla="*/ 450122 h 659653"/>
              <a:gd name="connsiteX6" fmla="*/ 358629 w 444912"/>
              <a:gd name="connsiteY6" fmla="*/ 440478 h 659653"/>
              <a:gd name="connsiteX7" fmla="*/ 348985 w 444912"/>
              <a:gd name="connsiteY7" fmla="*/ 450122 h 659653"/>
              <a:gd name="connsiteX8" fmla="*/ 348985 w 444912"/>
              <a:gd name="connsiteY8" fmla="*/ 640043 h 659653"/>
              <a:gd name="connsiteX9" fmla="*/ 244591 w 444912"/>
              <a:gd name="connsiteY9" fmla="*/ 640043 h 659653"/>
              <a:gd name="connsiteX10" fmla="*/ 274865 w 444912"/>
              <a:gd name="connsiteY10" fmla="*/ 606739 h 659653"/>
              <a:gd name="connsiteX11" fmla="*/ 279036 w 444912"/>
              <a:gd name="connsiteY11" fmla="*/ 592868 h 659653"/>
              <a:gd name="connsiteX12" fmla="*/ 278991 w 444912"/>
              <a:gd name="connsiteY12" fmla="*/ 592575 h 659653"/>
              <a:gd name="connsiteX13" fmla="*/ 250158 w 444912"/>
              <a:gd name="connsiteY13" fmla="*/ 422239 h 659653"/>
              <a:gd name="connsiteX14" fmla="*/ 257926 w 444912"/>
              <a:gd name="connsiteY14" fmla="*/ 410545 h 659653"/>
              <a:gd name="connsiteX15" fmla="*/ 271734 w 444912"/>
              <a:gd name="connsiteY15" fmla="*/ 416532 h 659653"/>
              <a:gd name="connsiteX16" fmla="*/ 286849 w 444912"/>
              <a:gd name="connsiteY16" fmla="*/ 407185 h 659653"/>
              <a:gd name="connsiteX17" fmla="*/ 286849 w 444912"/>
              <a:gd name="connsiteY17" fmla="*/ 407184 h 659653"/>
              <a:gd name="connsiteX18" fmla="*/ 317260 w 444912"/>
              <a:gd name="connsiteY18" fmla="*/ 346233 h 659653"/>
              <a:gd name="connsiteX19" fmla="*/ 386538 w 444912"/>
              <a:gd name="connsiteY19" fmla="*/ 373063 h 659653"/>
              <a:gd name="connsiteX20" fmla="*/ 425438 w 444912"/>
              <a:gd name="connsiteY20" fmla="*/ 433805 h 659653"/>
              <a:gd name="connsiteX21" fmla="*/ 425438 w 444912"/>
              <a:gd name="connsiteY21" fmla="*/ 499038 h 659653"/>
              <a:gd name="connsiteX22" fmla="*/ 435082 w 444912"/>
              <a:gd name="connsiteY22" fmla="*/ 508682 h 659653"/>
              <a:gd name="connsiteX23" fmla="*/ 444726 w 444912"/>
              <a:gd name="connsiteY23" fmla="*/ 499038 h 659653"/>
              <a:gd name="connsiteX24" fmla="*/ 444726 w 444912"/>
              <a:gd name="connsiteY24" fmla="*/ 433805 h 659653"/>
              <a:gd name="connsiteX25" fmla="*/ 393825 w 444912"/>
              <a:gd name="connsiteY25" fmla="*/ 355202 h 659653"/>
              <a:gd name="connsiteX26" fmla="*/ 393641 w 444912"/>
              <a:gd name="connsiteY26" fmla="*/ 355129 h 659653"/>
              <a:gd name="connsiteX27" fmla="*/ 278339 w 444912"/>
              <a:gd name="connsiteY27" fmla="*/ 310476 h 659653"/>
              <a:gd name="connsiteX28" fmla="*/ 278339 w 444912"/>
              <a:gd name="connsiteY28" fmla="*/ 283434 h 659653"/>
              <a:gd name="connsiteX29" fmla="*/ 312538 w 444912"/>
              <a:gd name="connsiteY29" fmla="*/ 223992 h 659653"/>
              <a:gd name="connsiteX30" fmla="*/ 337061 w 444912"/>
              <a:gd name="connsiteY30" fmla="*/ 213989 h 659653"/>
              <a:gd name="connsiteX31" fmla="*/ 351282 w 444912"/>
              <a:gd name="connsiteY31" fmla="*/ 182966 h 659653"/>
              <a:gd name="connsiteX32" fmla="*/ 341333 w 444912"/>
              <a:gd name="connsiteY32" fmla="*/ 156216 h 659653"/>
              <a:gd name="connsiteX33" fmla="*/ 341333 w 444912"/>
              <a:gd name="connsiteY33" fmla="*/ 120490 h 659653"/>
              <a:gd name="connsiteX34" fmla="*/ 221807 w 444912"/>
              <a:gd name="connsiteY34" fmla="*/ 964 h 659653"/>
              <a:gd name="connsiteX35" fmla="*/ 102282 w 444912"/>
              <a:gd name="connsiteY35" fmla="*/ 120490 h 659653"/>
              <a:gd name="connsiteX36" fmla="*/ 102282 w 444912"/>
              <a:gd name="connsiteY36" fmla="*/ 157152 h 659653"/>
              <a:gd name="connsiteX37" fmla="*/ 92339 w 444912"/>
              <a:gd name="connsiteY37" fmla="*/ 182965 h 659653"/>
              <a:gd name="connsiteX38" fmla="*/ 106559 w 444912"/>
              <a:gd name="connsiteY38" fmla="*/ 213991 h 659653"/>
              <a:gd name="connsiteX39" fmla="*/ 131069 w 444912"/>
              <a:gd name="connsiteY39" fmla="*/ 223989 h 659653"/>
              <a:gd name="connsiteX40" fmla="*/ 167224 w 444912"/>
              <a:gd name="connsiteY40" fmla="*/ 284861 h 659653"/>
              <a:gd name="connsiteX41" fmla="*/ 167224 w 444912"/>
              <a:gd name="connsiteY41" fmla="*/ 310476 h 659653"/>
              <a:gd name="connsiteX42" fmla="*/ 52047 w 444912"/>
              <a:gd name="connsiteY42" fmla="*/ 355128 h 659653"/>
              <a:gd name="connsiteX43" fmla="*/ 51866 w 444912"/>
              <a:gd name="connsiteY43" fmla="*/ 355200 h 659653"/>
              <a:gd name="connsiteX44" fmla="*/ 964 w 444912"/>
              <a:gd name="connsiteY44" fmla="*/ 433803 h 659653"/>
              <a:gd name="connsiteX45" fmla="*/ 964 w 444912"/>
              <a:gd name="connsiteY45" fmla="*/ 634714 h 659653"/>
              <a:gd name="connsiteX46" fmla="*/ 25579 w 444912"/>
              <a:gd name="connsiteY46" fmla="*/ 659329 h 659653"/>
              <a:gd name="connsiteX47" fmla="*/ 117463 w 444912"/>
              <a:gd name="connsiteY47" fmla="*/ 659329 h 659653"/>
              <a:gd name="connsiteX48" fmla="*/ 127107 w 444912"/>
              <a:gd name="connsiteY48" fmla="*/ 649685 h 659653"/>
              <a:gd name="connsiteX49" fmla="*/ 117463 w 444912"/>
              <a:gd name="connsiteY49" fmla="*/ 640040 h 659653"/>
              <a:gd name="connsiteX50" fmla="*/ 96713 w 444912"/>
              <a:gd name="connsiteY50" fmla="*/ 640040 h 659653"/>
              <a:gd name="connsiteX51" fmla="*/ 96713 w 444912"/>
              <a:gd name="connsiteY51" fmla="*/ 450122 h 659653"/>
              <a:gd name="connsiteX52" fmla="*/ 87069 w 444912"/>
              <a:gd name="connsiteY52" fmla="*/ 440478 h 659653"/>
              <a:gd name="connsiteX53" fmla="*/ 77425 w 444912"/>
              <a:gd name="connsiteY53" fmla="*/ 450122 h 659653"/>
              <a:gd name="connsiteX54" fmla="*/ 77425 w 444912"/>
              <a:gd name="connsiteY54" fmla="*/ 640043 h 659653"/>
              <a:gd name="connsiteX55" fmla="*/ 25580 w 444912"/>
              <a:gd name="connsiteY55" fmla="*/ 640043 h 659653"/>
              <a:gd name="connsiteX56" fmla="*/ 20255 w 444912"/>
              <a:gd name="connsiteY56" fmla="*/ 634718 h 659653"/>
              <a:gd name="connsiteX57" fmla="*/ 20255 w 444912"/>
              <a:gd name="connsiteY57" fmla="*/ 433804 h 659653"/>
              <a:gd name="connsiteX58" fmla="*/ 59144 w 444912"/>
              <a:gd name="connsiteY58" fmla="*/ 373067 h 659653"/>
              <a:gd name="connsiteX59" fmla="*/ 128368 w 444912"/>
              <a:gd name="connsiteY59" fmla="*/ 346231 h 659653"/>
              <a:gd name="connsiteX60" fmla="*/ 158781 w 444912"/>
              <a:gd name="connsiteY60" fmla="*/ 407184 h 659653"/>
              <a:gd name="connsiteX61" fmla="*/ 173898 w 444912"/>
              <a:gd name="connsiteY61" fmla="*/ 416532 h 659653"/>
              <a:gd name="connsiteX62" fmla="*/ 187706 w 444912"/>
              <a:gd name="connsiteY62" fmla="*/ 410545 h 659653"/>
              <a:gd name="connsiteX63" fmla="*/ 195474 w 444912"/>
              <a:gd name="connsiteY63" fmla="*/ 422239 h 659653"/>
              <a:gd name="connsiteX64" fmla="*/ 166643 w 444912"/>
              <a:gd name="connsiteY64" fmla="*/ 592576 h 659653"/>
              <a:gd name="connsiteX65" fmla="*/ 166598 w 444912"/>
              <a:gd name="connsiteY65" fmla="*/ 592867 h 659653"/>
              <a:gd name="connsiteX66" fmla="*/ 170769 w 444912"/>
              <a:gd name="connsiteY66" fmla="*/ 606740 h 659653"/>
              <a:gd name="connsiteX67" fmla="*/ 201043 w 444912"/>
              <a:gd name="connsiteY67" fmla="*/ 640044 h 659653"/>
              <a:gd name="connsiteX68" fmla="*/ 162473 w 444912"/>
              <a:gd name="connsiteY68" fmla="*/ 640044 h 659653"/>
              <a:gd name="connsiteX69" fmla="*/ 152829 w 444912"/>
              <a:gd name="connsiteY69" fmla="*/ 649688 h 659653"/>
              <a:gd name="connsiteX70" fmla="*/ 162473 w 444912"/>
              <a:gd name="connsiteY70" fmla="*/ 659332 h 659653"/>
              <a:gd name="connsiteX71" fmla="*/ 420117 w 444912"/>
              <a:gd name="connsiteY71" fmla="*/ 659332 h 659653"/>
              <a:gd name="connsiteX72" fmla="*/ 444731 w 444912"/>
              <a:gd name="connsiteY72" fmla="*/ 634718 h 659653"/>
              <a:gd name="connsiteX73" fmla="*/ 444731 w 444912"/>
              <a:gd name="connsiteY73" fmla="*/ 544046 h 659653"/>
              <a:gd name="connsiteX74" fmla="*/ 435085 w 444912"/>
              <a:gd name="connsiteY74" fmla="*/ 534401 h 659653"/>
              <a:gd name="connsiteX75" fmla="*/ 299195 w 444912"/>
              <a:gd name="connsiteY75" fmla="*/ 339238 h 659653"/>
              <a:gd name="connsiteX76" fmla="*/ 270843 w 444912"/>
              <a:gd name="connsiteY76" fmla="*/ 396061 h 659653"/>
              <a:gd name="connsiteX77" fmla="*/ 236745 w 444912"/>
              <a:gd name="connsiteY77" fmla="*/ 371843 h 659653"/>
              <a:gd name="connsiteX78" fmla="*/ 271766 w 444912"/>
              <a:gd name="connsiteY78" fmla="*/ 328616 h 659653"/>
              <a:gd name="connsiteX79" fmla="*/ 299195 w 444912"/>
              <a:gd name="connsiteY79" fmla="*/ 339238 h 659653"/>
              <a:gd name="connsiteX80" fmla="*/ 242189 w 444912"/>
              <a:gd name="connsiteY80" fmla="*/ 399371 h 659653"/>
              <a:gd name="connsiteX81" fmla="*/ 234837 w 444912"/>
              <a:gd name="connsiteY81" fmla="*/ 410438 h 659653"/>
              <a:gd name="connsiteX82" fmla="*/ 210787 w 444912"/>
              <a:gd name="connsiteY82" fmla="*/ 410438 h 659653"/>
              <a:gd name="connsiteX83" fmla="*/ 203434 w 444912"/>
              <a:gd name="connsiteY83" fmla="*/ 399371 h 659653"/>
              <a:gd name="connsiteX84" fmla="*/ 222813 w 444912"/>
              <a:gd name="connsiteY84" fmla="*/ 385608 h 659653"/>
              <a:gd name="connsiteX85" fmla="*/ 242189 w 444912"/>
              <a:gd name="connsiteY85" fmla="*/ 399371 h 659653"/>
              <a:gd name="connsiteX86" fmla="*/ 186511 w 444912"/>
              <a:gd name="connsiteY86" fmla="*/ 313588 h 659653"/>
              <a:gd name="connsiteX87" fmla="*/ 186511 w 444912"/>
              <a:gd name="connsiteY87" fmla="*/ 295539 h 659653"/>
              <a:gd name="connsiteX88" fmla="*/ 222978 w 444912"/>
              <a:gd name="connsiteY88" fmla="*/ 302452 h 659653"/>
              <a:gd name="connsiteX89" fmla="*/ 259050 w 444912"/>
              <a:gd name="connsiteY89" fmla="*/ 294935 h 659653"/>
              <a:gd name="connsiteX90" fmla="*/ 259050 w 444912"/>
              <a:gd name="connsiteY90" fmla="*/ 313666 h 659653"/>
              <a:gd name="connsiteX91" fmla="*/ 222813 w 444912"/>
              <a:gd name="connsiteY91" fmla="*/ 358395 h 659653"/>
              <a:gd name="connsiteX92" fmla="*/ 186511 w 444912"/>
              <a:gd name="connsiteY92" fmla="*/ 313588 h 659653"/>
              <a:gd name="connsiteX93" fmla="*/ 331992 w 444912"/>
              <a:gd name="connsiteY93" fmla="*/ 182966 h 659653"/>
              <a:gd name="connsiteX94" fmla="*/ 324484 w 444912"/>
              <a:gd name="connsiteY94" fmla="*/ 199365 h 659653"/>
              <a:gd name="connsiteX95" fmla="*/ 313347 w 444912"/>
              <a:gd name="connsiteY95" fmla="*/ 204491 h 659653"/>
              <a:gd name="connsiteX96" fmla="*/ 313347 w 444912"/>
              <a:gd name="connsiteY96" fmla="*/ 161444 h 659653"/>
              <a:gd name="connsiteX97" fmla="*/ 331992 w 444912"/>
              <a:gd name="connsiteY97" fmla="*/ 182966 h 659653"/>
              <a:gd name="connsiteX98" fmla="*/ 130272 w 444912"/>
              <a:gd name="connsiteY98" fmla="*/ 204491 h 659653"/>
              <a:gd name="connsiteX99" fmla="*/ 111627 w 444912"/>
              <a:gd name="connsiteY99" fmla="*/ 182965 h 659653"/>
              <a:gd name="connsiteX100" fmla="*/ 130272 w 444912"/>
              <a:gd name="connsiteY100" fmla="*/ 161929 h 659653"/>
              <a:gd name="connsiteX101" fmla="*/ 130272 w 444912"/>
              <a:gd name="connsiteY101" fmla="*/ 204491 h 659653"/>
              <a:gd name="connsiteX102" fmla="*/ 130790 w 444912"/>
              <a:gd name="connsiteY102" fmla="*/ 142277 h 659653"/>
              <a:gd name="connsiteX103" fmla="*/ 121573 w 444912"/>
              <a:gd name="connsiteY103" fmla="*/ 144354 h 659653"/>
              <a:gd name="connsiteX104" fmla="*/ 121573 w 444912"/>
              <a:gd name="connsiteY104" fmla="*/ 120490 h 659653"/>
              <a:gd name="connsiteX105" fmla="*/ 221808 w 444912"/>
              <a:gd name="connsiteY105" fmla="*/ 20254 h 659653"/>
              <a:gd name="connsiteX106" fmla="*/ 322044 w 444912"/>
              <a:gd name="connsiteY106" fmla="*/ 120490 h 659653"/>
              <a:gd name="connsiteX107" fmla="*/ 322044 w 444912"/>
              <a:gd name="connsiteY107" fmla="*/ 143691 h 659653"/>
              <a:gd name="connsiteX108" fmla="*/ 313348 w 444912"/>
              <a:gd name="connsiteY108" fmla="*/ 142011 h 659653"/>
              <a:gd name="connsiteX109" fmla="*/ 282986 w 444912"/>
              <a:gd name="connsiteY109" fmla="*/ 101771 h 659653"/>
              <a:gd name="connsiteX110" fmla="*/ 261079 w 444912"/>
              <a:gd name="connsiteY110" fmla="*/ 99100 h 659653"/>
              <a:gd name="connsiteX111" fmla="*/ 148674 w 444912"/>
              <a:gd name="connsiteY111" fmla="*/ 129359 h 659653"/>
              <a:gd name="connsiteX112" fmla="*/ 130790 w 444912"/>
              <a:gd name="connsiteY112" fmla="*/ 142277 h 659653"/>
              <a:gd name="connsiteX113" fmla="*/ 149561 w 444912"/>
              <a:gd name="connsiteY113" fmla="*/ 212085 h 659653"/>
              <a:gd name="connsiteX114" fmla="*/ 149561 w 444912"/>
              <a:gd name="connsiteY114" fmla="*/ 151916 h 659653"/>
              <a:gd name="connsiteX115" fmla="*/ 149561 w 444912"/>
              <a:gd name="connsiteY115" fmla="*/ 148746 h 659653"/>
              <a:gd name="connsiteX116" fmla="*/ 270098 w 444912"/>
              <a:gd name="connsiteY116" fmla="*/ 116235 h 659653"/>
              <a:gd name="connsiteX117" fmla="*/ 294059 w 444912"/>
              <a:gd name="connsiteY117" fmla="*/ 142080 h 659653"/>
              <a:gd name="connsiteX118" fmla="*/ 294059 w 444912"/>
              <a:gd name="connsiteY118" fmla="*/ 212083 h 659653"/>
              <a:gd name="connsiteX119" fmla="*/ 222980 w 444912"/>
              <a:gd name="connsiteY119" fmla="*/ 283161 h 659653"/>
              <a:gd name="connsiteX120" fmla="*/ 149561 w 444912"/>
              <a:gd name="connsiteY120" fmla="*/ 212085 h 659653"/>
              <a:gd name="connsiteX121" fmla="*/ 174784 w 444912"/>
              <a:gd name="connsiteY121" fmla="*/ 396061 h 659653"/>
              <a:gd name="connsiteX122" fmla="*/ 146432 w 444912"/>
              <a:gd name="connsiteY122" fmla="*/ 339238 h 659653"/>
              <a:gd name="connsiteX123" fmla="*/ 173812 w 444912"/>
              <a:gd name="connsiteY123" fmla="*/ 328634 h 659653"/>
              <a:gd name="connsiteX124" fmla="*/ 208840 w 444912"/>
              <a:gd name="connsiteY124" fmla="*/ 371871 h 659653"/>
              <a:gd name="connsiteX125" fmla="*/ 174784 w 444912"/>
              <a:gd name="connsiteY125" fmla="*/ 396061 h 659653"/>
              <a:gd name="connsiteX126" fmla="*/ 185849 w 444912"/>
              <a:gd name="connsiteY126" fmla="*/ 594655 h 659653"/>
              <a:gd name="connsiteX127" fmla="*/ 213764 w 444912"/>
              <a:gd name="connsiteY127" fmla="*/ 429725 h 659653"/>
              <a:gd name="connsiteX128" fmla="*/ 231857 w 444912"/>
              <a:gd name="connsiteY128" fmla="*/ 429725 h 659653"/>
              <a:gd name="connsiteX129" fmla="*/ 259772 w 444912"/>
              <a:gd name="connsiteY129" fmla="*/ 594655 h 659653"/>
              <a:gd name="connsiteX130" fmla="*/ 222811 w 444912"/>
              <a:gd name="connsiteY130" fmla="*/ 635319 h 659653"/>
              <a:gd name="connsiteX131" fmla="*/ 185849 w 444912"/>
              <a:gd name="connsiteY131" fmla="*/ 594655 h 65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</a:cxnLst>
            <a:rect l="l" t="t" r="r" b="b"/>
            <a:pathLst>
              <a:path w="444912" h="659653">
                <a:moveTo>
                  <a:pt x="435085" y="534401"/>
                </a:moveTo>
                <a:cubicBezTo>
                  <a:pt x="429759" y="534401"/>
                  <a:pt x="425441" y="538719"/>
                  <a:pt x="425441" y="544045"/>
                </a:cubicBezTo>
                <a:lnTo>
                  <a:pt x="425441" y="634717"/>
                </a:lnTo>
                <a:cubicBezTo>
                  <a:pt x="425441" y="637653"/>
                  <a:pt x="423052" y="640042"/>
                  <a:pt x="420116" y="640042"/>
                </a:cubicBezTo>
                <a:lnTo>
                  <a:pt x="368273" y="640042"/>
                </a:lnTo>
                <a:lnTo>
                  <a:pt x="368273" y="450122"/>
                </a:lnTo>
                <a:cubicBezTo>
                  <a:pt x="368273" y="444796"/>
                  <a:pt x="363955" y="440478"/>
                  <a:pt x="358629" y="440478"/>
                </a:cubicBezTo>
                <a:cubicBezTo>
                  <a:pt x="353303" y="440478"/>
                  <a:pt x="348985" y="444796"/>
                  <a:pt x="348985" y="450122"/>
                </a:cubicBezTo>
                <a:lnTo>
                  <a:pt x="348985" y="640043"/>
                </a:lnTo>
                <a:lnTo>
                  <a:pt x="244591" y="640043"/>
                </a:lnTo>
                <a:lnTo>
                  <a:pt x="274865" y="606739"/>
                </a:lnTo>
                <a:cubicBezTo>
                  <a:pt x="278172" y="603100"/>
                  <a:pt x="279732" y="597916"/>
                  <a:pt x="279036" y="592868"/>
                </a:cubicBezTo>
                <a:cubicBezTo>
                  <a:pt x="279023" y="592770"/>
                  <a:pt x="279008" y="592673"/>
                  <a:pt x="278991" y="592575"/>
                </a:cubicBezTo>
                <a:lnTo>
                  <a:pt x="250158" y="422239"/>
                </a:lnTo>
                <a:lnTo>
                  <a:pt x="257926" y="410545"/>
                </a:lnTo>
                <a:cubicBezTo>
                  <a:pt x="262221" y="413595"/>
                  <a:pt x="265529" y="416532"/>
                  <a:pt x="271734" y="416532"/>
                </a:cubicBezTo>
                <a:cubicBezTo>
                  <a:pt x="278045" y="416532"/>
                  <a:pt x="283946" y="413000"/>
                  <a:pt x="286849" y="407185"/>
                </a:cubicBezTo>
                <a:lnTo>
                  <a:pt x="286849" y="407184"/>
                </a:lnTo>
                <a:lnTo>
                  <a:pt x="317260" y="346233"/>
                </a:lnTo>
                <a:lnTo>
                  <a:pt x="386538" y="373063"/>
                </a:lnTo>
                <a:cubicBezTo>
                  <a:pt x="389044" y="374138"/>
                  <a:pt x="425438" y="390528"/>
                  <a:pt x="425438" y="433805"/>
                </a:cubicBezTo>
                <a:lnTo>
                  <a:pt x="425438" y="499038"/>
                </a:lnTo>
                <a:cubicBezTo>
                  <a:pt x="425437" y="504363"/>
                  <a:pt x="429755" y="508682"/>
                  <a:pt x="435082" y="508682"/>
                </a:cubicBezTo>
                <a:cubicBezTo>
                  <a:pt x="440408" y="508682"/>
                  <a:pt x="444726" y="504364"/>
                  <a:pt x="444726" y="499038"/>
                </a:cubicBezTo>
                <a:lnTo>
                  <a:pt x="444726" y="433805"/>
                </a:lnTo>
                <a:cubicBezTo>
                  <a:pt x="444726" y="376785"/>
                  <a:pt x="395903" y="356058"/>
                  <a:pt x="393825" y="355202"/>
                </a:cubicBezTo>
                <a:cubicBezTo>
                  <a:pt x="393765" y="355177"/>
                  <a:pt x="393703" y="355152"/>
                  <a:pt x="393641" y="355129"/>
                </a:cubicBezTo>
                <a:lnTo>
                  <a:pt x="278339" y="310476"/>
                </a:lnTo>
                <a:lnTo>
                  <a:pt x="278339" y="283434"/>
                </a:lnTo>
                <a:cubicBezTo>
                  <a:pt x="296653" y="269192"/>
                  <a:pt x="309351" y="248079"/>
                  <a:pt x="312538" y="223992"/>
                </a:cubicBezTo>
                <a:cubicBezTo>
                  <a:pt x="321669" y="223349"/>
                  <a:pt x="330142" y="219939"/>
                  <a:pt x="337061" y="213989"/>
                </a:cubicBezTo>
                <a:cubicBezTo>
                  <a:pt x="346097" y="206218"/>
                  <a:pt x="351282" y="194909"/>
                  <a:pt x="351282" y="182966"/>
                </a:cubicBezTo>
                <a:cubicBezTo>
                  <a:pt x="351282" y="173054"/>
                  <a:pt x="347706" y="163590"/>
                  <a:pt x="341333" y="156216"/>
                </a:cubicBezTo>
                <a:lnTo>
                  <a:pt x="341333" y="120490"/>
                </a:lnTo>
                <a:cubicBezTo>
                  <a:pt x="341332" y="54584"/>
                  <a:pt x="287713" y="964"/>
                  <a:pt x="221807" y="964"/>
                </a:cubicBezTo>
                <a:cubicBezTo>
                  <a:pt x="155901" y="964"/>
                  <a:pt x="102282" y="54584"/>
                  <a:pt x="102282" y="120490"/>
                </a:cubicBezTo>
                <a:lnTo>
                  <a:pt x="102282" y="157152"/>
                </a:lnTo>
                <a:cubicBezTo>
                  <a:pt x="95841" y="164452"/>
                  <a:pt x="92339" y="173438"/>
                  <a:pt x="92339" y="182965"/>
                </a:cubicBezTo>
                <a:cubicBezTo>
                  <a:pt x="92339" y="194912"/>
                  <a:pt x="97521" y="206220"/>
                  <a:pt x="106559" y="213991"/>
                </a:cubicBezTo>
                <a:cubicBezTo>
                  <a:pt x="113473" y="219939"/>
                  <a:pt x="121941" y="223345"/>
                  <a:pt x="131069" y="223989"/>
                </a:cubicBezTo>
                <a:cubicBezTo>
                  <a:pt x="134283" y="248527"/>
                  <a:pt x="147351" y="270427"/>
                  <a:pt x="167224" y="284861"/>
                </a:cubicBezTo>
                <a:lnTo>
                  <a:pt x="167224" y="310476"/>
                </a:lnTo>
                <a:lnTo>
                  <a:pt x="52047" y="355128"/>
                </a:lnTo>
                <a:cubicBezTo>
                  <a:pt x="51987" y="355151"/>
                  <a:pt x="51926" y="355175"/>
                  <a:pt x="51866" y="355200"/>
                </a:cubicBezTo>
                <a:cubicBezTo>
                  <a:pt x="49787" y="356055"/>
                  <a:pt x="964" y="376782"/>
                  <a:pt x="964" y="433803"/>
                </a:cubicBezTo>
                <a:lnTo>
                  <a:pt x="964" y="634714"/>
                </a:lnTo>
                <a:cubicBezTo>
                  <a:pt x="964" y="648287"/>
                  <a:pt x="12006" y="659329"/>
                  <a:pt x="25579" y="659329"/>
                </a:cubicBezTo>
                <a:lnTo>
                  <a:pt x="117463" y="659329"/>
                </a:lnTo>
                <a:cubicBezTo>
                  <a:pt x="122789" y="659329"/>
                  <a:pt x="127107" y="655011"/>
                  <a:pt x="127107" y="649685"/>
                </a:cubicBezTo>
                <a:cubicBezTo>
                  <a:pt x="127107" y="644358"/>
                  <a:pt x="122789" y="640040"/>
                  <a:pt x="117463" y="640040"/>
                </a:cubicBezTo>
                <a:lnTo>
                  <a:pt x="96713" y="640040"/>
                </a:lnTo>
                <a:lnTo>
                  <a:pt x="96713" y="450122"/>
                </a:lnTo>
                <a:cubicBezTo>
                  <a:pt x="96713" y="444796"/>
                  <a:pt x="92395" y="440478"/>
                  <a:pt x="87069" y="440478"/>
                </a:cubicBezTo>
                <a:cubicBezTo>
                  <a:pt x="81743" y="440478"/>
                  <a:pt x="77425" y="444796"/>
                  <a:pt x="77425" y="450122"/>
                </a:cubicBezTo>
                <a:lnTo>
                  <a:pt x="77425" y="640043"/>
                </a:lnTo>
                <a:lnTo>
                  <a:pt x="25580" y="640043"/>
                </a:lnTo>
                <a:cubicBezTo>
                  <a:pt x="22644" y="640043"/>
                  <a:pt x="20255" y="637654"/>
                  <a:pt x="20255" y="634718"/>
                </a:cubicBezTo>
                <a:lnTo>
                  <a:pt x="20255" y="433804"/>
                </a:lnTo>
                <a:cubicBezTo>
                  <a:pt x="20255" y="390381"/>
                  <a:pt x="56894" y="374029"/>
                  <a:pt x="59144" y="373067"/>
                </a:cubicBezTo>
                <a:lnTo>
                  <a:pt x="128368" y="346231"/>
                </a:lnTo>
                <a:lnTo>
                  <a:pt x="158781" y="407184"/>
                </a:lnTo>
                <a:cubicBezTo>
                  <a:pt x="161691" y="413013"/>
                  <a:pt x="167600" y="416532"/>
                  <a:pt x="173898" y="416532"/>
                </a:cubicBezTo>
                <a:cubicBezTo>
                  <a:pt x="180071" y="416532"/>
                  <a:pt x="183348" y="413640"/>
                  <a:pt x="187706" y="410545"/>
                </a:cubicBezTo>
                <a:lnTo>
                  <a:pt x="195474" y="422239"/>
                </a:lnTo>
                <a:lnTo>
                  <a:pt x="166643" y="592576"/>
                </a:lnTo>
                <a:cubicBezTo>
                  <a:pt x="166626" y="592673"/>
                  <a:pt x="166612" y="592769"/>
                  <a:pt x="166598" y="592867"/>
                </a:cubicBezTo>
                <a:cubicBezTo>
                  <a:pt x="165901" y="597913"/>
                  <a:pt x="167461" y="603099"/>
                  <a:pt x="170769" y="606740"/>
                </a:cubicBezTo>
                <a:lnTo>
                  <a:pt x="201043" y="640044"/>
                </a:lnTo>
                <a:lnTo>
                  <a:pt x="162473" y="640044"/>
                </a:lnTo>
                <a:cubicBezTo>
                  <a:pt x="157147" y="640044"/>
                  <a:pt x="152829" y="644362"/>
                  <a:pt x="152829" y="649688"/>
                </a:cubicBezTo>
                <a:cubicBezTo>
                  <a:pt x="152829" y="655014"/>
                  <a:pt x="157147" y="659332"/>
                  <a:pt x="162473" y="659332"/>
                </a:cubicBezTo>
                <a:lnTo>
                  <a:pt x="420117" y="659332"/>
                </a:lnTo>
                <a:cubicBezTo>
                  <a:pt x="433690" y="659332"/>
                  <a:pt x="444731" y="648289"/>
                  <a:pt x="444731" y="634718"/>
                </a:cubicBezTo>
                <a:lnTo>
                  <a:pt x="444731" y="544046"/>
                </a:lnTo>
                <a:cubicBezTo>
                  <a:pt x="444729" y="538719"/>
                  <a:pt x="440411" y="534401"/>
                  <a:pt x="435085" y="534401"/>
                </a:cubicBezTo>
                <a:close/>
                <a:moveTo>
                  <a:pt x="299195" y="339238"/>
                </a:moveTo>
                <a:lnTo>
                  <a:pt x="270843" y="396061"/>
                </a:lnTo>
                <a:cubicBezTo>
                  <a:pt x="270138" y="395561"/>
                  <a:pt x="255112" y="384886"/>
                  <a:pt x="236745" y="371843"/>
                </a:cubicBezTo>
                <a:cubicBezTo>
                  <a:pt x="244715" y="362005"/>
                  <a:pt x="235391" y="373513"/>
                  <a:pt x="271766" y="328616"/>
                </a:cubicBezTo>
                <a:lnTo>
                  <a:pt x="299195" y="339238"/>
                </a:lnTo>
                <a:close/>
                <a:moveTo>
                  <a:pt x="242189" y="399371"/>
                </a:moveTo>
                <a:lnTo>
                  <a:pt x="234837" y="410438"/>
                </a:lnTo>
                <a:lnTo>
                  <a:pt x="210787" y="410438"/>
                </a:lnTo>
                <a:lnTo>
                  <a:pt x="203434" y="399371"/>
                </a:lnTo>
                <a:lnTo>
                  <a:pt x="222813" y="385608"/>
                </a:lnTo>
                <a:lnTo>
                  <a:pt x="242189" y="399371"/>
                </a:lnTo>
                <a:close/>
                <a:moveTo>
                  <a:pt x="186511" y="313588"/>
                </a:moveTo>
                <a:lnTo>
                  <a:pt x="186511" y="295539"/>
                </a:lnTo>
                <a:cubicBezTo>
                  <a:pt x="198228" y="300262"/>
                  <a:pt x="210750" y="302452"/>
                  <a:pt x="222978" y="302452"/>
                </a:cubicBezTo>
                <a:cubicBezTo>
                  <a:pt x="235622" y="302452"/>
                  <a:pt x="248022" y="299757"/>
                  <a:pt x="259050" y="294935"/>
                </a:cubicBezTo>
                <a:lnTo>
                  <a:pt x="259050" y="313666"/>
                </a:lnTo>
                <a:lnTo>
                  <a:pt x="222813" y="358395"/>
                </a:lnTo>
                <a:lnTo>
                  <a:pt x="186511" y="313588"/>
                </a:lnTo>
                <a:close/>
                <a:moveTo>
                  <a:pt x="331992" y="182966"/>
                </a:moveTo>
                <a:cubicBezTo>
                  <a:pt x="331991" y="189283"/>
                  <a:pt x="329255" y="195261"/>
                  <a:pt x="324484" y="199365"/>
                </a:cubicBezTo>
                <a:cubicBezTo>
                  <a:pt x="321330" y="202078"/>
                  <a:pt x="317520" y="203812"/>
                  <a:pt x="313347" y="204491"/>
                </a:cubicBezTo>
                <a:lnTo>
                  <a:pt x="313347" y="161444"/>
                </a:lnTo>
                <a:cubicBezTo>
                  <a:pt x="324431" y="163244"/>
                  <a:pt x="331992" y="172438"/>
                  <a:pt x="331992" y="182966"/>
                </a:cubicBezTo>
                <a:close/>
                <a:moveTo>
                  <a:pt x="130272" y="204491"/>
                </a:moveTo>
                <a:cubicBezTo>
                  <a:pt x="119062" y="202672"/>
                  <a:pt x="111627" y="193403"/>
                  <a:pt x="111627" y="182965"/>
                </a:cubicBezTo>
                <a:cubicBezTo>
                  <a:pt x="111627" y="172654"/>
                  <a:pt x="120174" y="164263"/>
                  <a:pt x="130272" y="161929"/>
                </a:cubicBezTo>
                <a:lnTo>
                  <a:pt x="130272" y="204491"/>
                </a:lnTo>
                <a:close/>
                <a:moveTo>
                  <a:pt x="130790" y="142277"/>
                </a:moveTo>
                <a:cubicBezTo>
                  <a:pt x="127718" y="142629"/>
                  <a:pt x="124198" y="143461"/>
                  <a:pt x="121573" y="144354"/>
                </a:cubicBezTo>
                <a:lnTo>
                  <a:pt x="121573" y="120490"/>
                </a:lnTo>
                <a:cubicBezTo>
                  <a:pt x="121573" y="65220"/>
                  <a:pt x="166538" y="20254"/>
                  <a:pt x="221808" y="20254"/>
                </a:cubicBezTo>
                <a:cubicBezTo>
                  <a:pt x="277079" y="20254"/>
                  <a:pt x="322044" y="65220"/>
                  <a:pt x="322044" y="120490"/>
                </a:cubicBezTo>
                <a:lnTo>
                  <a:pt x="322044" y="143691"/>
                </a:lnTo>
                <a:cubicBezTo>
                  <a:pt x="319240" y="142839"/>
                  <a:pt x="316333" y="142276"/>
                  <a:pt x="313348" y="142011"/>
                </a:cubicBezTo>
                <a:cubicBezTo>
                  <a:pt x="313348" y="132705"/>
                  <a:pt x="313429" y="134500"/>
                  <a:pt x="282986" y="101771"/>
                </a:cubicBezTo>
                <a:cubicBezTo>
                  <a:pt x="277388" y="95755"/>
                  <a:pt x="268127" y="94495"/>
                  <a:pt x="261079" y="99100"/>
                </a:cubicBezTo>
                <a:cubicBezTo>
                  <a:pt x="227479" y="121048"/>
                  <a:pt x="186492" y="132075"/>
                  <a:pt x="148674" y="129359"/>
                </a:cubicBezTo>
                <a:cubicBezTo>
                  <a:pt x="140379" y="128738"/>
                  <a:pt x="132823" y="134202"/>
                  <a:pt x="130790" y="142277"/>
                </a:cubicBezTo>
                <a:close/>
                <a:moveTo>
                  <a:pt x="149561" y="212085"/>
                </a:moveTo>
                <a:lnTo>
                  <a:pt x="149561" y="151916"/>
                </a:lnTo>
                <a:lnTo>
                  <a:pt x="149561" y="148746"/>
                </a:lnTo>
                <a:cubicBezTo>
                  <a:pt x="191192" y="151184"/>
                  <a:pt x="234838" y="138817"/>
                  <a:pt x="270098" y="116235"/>
                </a:cubicBezTo>
                <a:cubicBezTo>
                  <a:pt x="284060" y="131226"/>
                  <a:pt x="291621" y="139089"/>
                  <a:pt x="294059" y="142080"/>
                </a:cubicBezTo>
                <a:cubicBezTo>
                  <a:pt x="294059" y="149646"/>
                  <a:pt x="294059" y="203423"/>
                  <a:pt x="294059" y="212083"/>
                </a:cubicBezTo>
                <a:cubicBezTo>
                  <a:pt x="294059" y="251234"/>
                  <a:pt x="262136" y="283161"/>
                  <a:pt x="222980" y="283161"/>
                </a:cubicBezTo>
                <a:cubicBezTo>
                  <a:pt x="179011" y="283163"/>
                  <a:pt x="149561" y="249053"/>
                  <a:pt x="149561" y="212085"/>
                </a:cubicBezTo>
                <a:close/>
                <a:moveTo>
                  <a:pt x="174784" y="396061"/>
                </a:moveTo>
                <a:lnTo>
                  <a:pt x="146432" y="339238"/>
                </a:lnTo>
                <a:lnTo>
                  <a:pt x="173812" y="328634"/>
                </a:lnTo>
                <a:lnTo>
                  <a:pt x="208840" y="371871"/>
                </a:lnTo>
                <a:cubicBezTo>
                  <a:pt x="191027" y="384520"/>
                  <a:pt x="176400" y="394913"/>
                  <a:pt x="174784" y="396061"/>
                </a:cubicBezTo>
                <a:close/>
                <a:moveTo>
                  <a:pt x="185849" y="594655"/>
                </a:moveTo>
                <a:lnTo>
                  <a:pt x="213764" y="429725"/>
                </a:lnTo>
                <a:lnTo>
                  <a:pt x="231857" y="429725"/>
                </a:lnTo>
                <a:lnTo>
                  <a:pt x="259772" y="594655"/>
                </a:lnTo>
                <a:lnTo>
                  <a:pt x="222811" y="635319"/>
                </a:lnTo>
                <a:lnTo>
                  <a:pt x="185849" y="594655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9817855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F4FD37-9323-7D04-5419-F0526FB9C5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F7F98A8-9C82-9D83-65B4-EA00F18904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ackground and Situation</a:t>
            </a:r>
            <a:br>
              <a:rPr lang="en-US"/>
            </a:br>
            <a:r>
              <a:rPr lang="en-US" b="0"/>
              <a:t>Background and Business Need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3A1277A-A726-420C-9AF3-42B97AF518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737444"/>
            <a:ext cx="4604716" cy="439447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pPr marL="182880" lvl="1">
              <a:spcBef>
                <a:spcPts val="600"/>
              </a:spcBef>
            </a:pPr>
            <a:r>
              <a:rPr lang="en-US" sz="1100" err="1"/>
              <a:t>Neurizon</a:t>
            </a:r>
            <a:r>
              <a:rPr lang="en-US" sz="1100"/>
              <a:t> Therapeutics is a clinical-stage biotech company dedicated to developing treatments for neurodegenerative diseases, including Amyotrophic Lateral Sclerosis (ALS). </a:t>
            </a:r>
          </a:p>
          <a:p>
            <a:pPr marL="182880" lvl="1">
              <a:spcBef>
                <a:spcPts val="600"/>
              </a:spcBef>
            </a:pPr>
            <a:r>
              <a:rPr lang="en-US" sz="1100"/>
              <a:t>Their lead product, NUZ-001, operates by inhibiting the aggregation of TAR DNA-binding protein 43 (TDP-43)</a:t>
            </a:r>
          </a:p>
          <a:p>
            <a:pPr marL="182880" lvl="1">
              <a:spcBef>
                <a:spcPts val="600"/>
              </a:spcBef>
            </a:pPr>
            <a:r>
              <a:rPr lang="en-US" sz="1100"/>
              <a:t>Positive outcomes from </a:t>
            </a:r>
            <a:r>
              <a:rPr lang="en-US" sz="1100" err="1"/>
              <a:t>Neurizon’s</a:t>
            </a:r>
            <a:r>
              <a:rPr lang="en-US" sz="1100"/>
              <a:t> Phase 1 MEND study in slowing respiratory decline (SVC) in ALS have bolstered confidence in NUZ-001's therapeutic capabilities.</a:t>
            </a:r>
          </a:p>
          <a:p>
            <a:pPr marL="182880" lvl="1">
              <a:spcBef>
                <a:spcPts val="600"/>
              </a:spcBef>
            </a:pPr>
            <a:r>
              <a:rPr lang="en-US" sz="1100"/>
              <a:t>Accelerated approval is possible based on Phase 2 data (</a:t>
            </a:r>
            <a:r>
              <a:rPr lang="en-US" sz="1100">
                <a:hlinkClick r:id="rId3"/>
              </a:rPr>
              <a:t>HEALEY-ALS platform trial</a:t>
            </a:r>
            <a:r>
              <a:rPr lang="en-US" sz="1100"/>
              <a:t>)</a:t>
            </a:r>
          </a:p>
          <a:p>
            <a:pPr marL="182880" lvl="1">
              <a:spcBef>
                <a:spcPts val="600"/>
              </a:spcBef>
            </a:pPr>
            <a:r>
              <a:rPr lang="en-US" sz="1100"/>
              <a:t>There is a very significant unmet need in ALS as current disease modifying treatment options are limited:</a:t>
            </a:r>
          </a:p>
          <a:p>
            <a:pPr marL="457200" lvl="2">
              <a:spcBef>
                <a:spcPts val="600"/>
              </a:spcBef>
            </a:pPr>
            <a:r>
              <a:rPr lang="en-US" sz="1100" err="1"/>
              <a:t>Riluzole</a:t>
            </a:r>
            <a:r>
              <a:rPr lang="en-US" sz="1100"/>
              <a:t> (generic availability)</a:t>
            </a:r>
          </a:p>
          <a:p>
            <a:pPr marL="457200" lvl="2">
              <a:spcBef>
                <a:spcPts val="600"/>
              </a:spcBef>
            </a:pPr>
            <a:r>
              <a:rPr lang="en-US" sz="1100" err="1"/>
              <a:t>Radicava</a:t>
            </a:r>
            <a:r>
              <a:rPr lang="en-US" sz="1100"/>
              <a:t> (</a:t>
            </a:r>
            <a:r>
              <a:rPr lang="en-US" sz="1100" err="1"/>
              <a:t>edaravone</a:t>
            </a:r>
            <a:r>
              <a:rPr lang="en-US" sz="1100"/>
              <a:t>), FDA approved May 2017 (ORS May 2022)</a:t>
            </a:r>
          </a:p>
          <a:p>
            <a:pPr marL="457200" lvl="2" indent="168275">
              <a:spcBef>
                <a:spcPts val="600"/>
              </a:spcBef>
            </a:pPr>
            <a:r>
              <a:rPr lang="en-US" sz="1100" err="1"/>
              <a:t>Radicava</a:t>
            </a:r>
            <a:r>
              <a:rPr lang="en-US" sz="1100"/>
              <a:t> $1,139.48 USD for 2 vial 100mL | 30 mg (1 dose)</a:t>
            </a:r>
          </a:p>
          <a:p>
            <a:pPr marL="731520" lvl="3" indent="168275">
              <a:spcBef>
                <a:spcPts val="600"/>
              </a:spcBef>
            </a:pPr>
            <a:r>
              <a:rPr lang="en-US"/>
              <a:t>Year 1: $153,830 | Year 2: $149,272</a:t>
            </a:r>
          </a:p>
          <a:p>
            <a:pPr marL="457200" lvl="2" indent="168275">
              <a:spcBef>
                <a:spcPts val="600"/>
              </a:spcBef>
            </a:pPr>
            <a:r>
              <a:rPr lang="en-US" sz="1100" err="1"/>
              <a:t>Radicava</a:t>
            </a:r>
            <a:r>
              <a:rPr lang="en-US" sz="1100"/>
              <a:t> ORS $12,634.18 USD for 50mL | 1,050mg (10 dose)</a:t>
            </a:r>
          </a:p>
          <a:p>
            <a:pPr marL="731520" lvl="3" indent="168275">
              <a:spcBef>
                <a:spcPts val="600"/>
              </a:spcBef>
            </a:pPr>
            <a:r>
              <a:rPr lang="en-US"/>
              <a:t>Year 1: $170,561 | Year 2: $165,508</a:t>
            </a:r>
          </a:p>
          <a:p>
            <a:pPr marL="457200" lvl="2">
              <a:spcBef>
                <a:spcPts val="600"/>
              </a:spcBef>
            </a:pPr>
            <a:r>
              <a:rPr lang="en-US" sz="1100" err="1"/>
              <a:t>Relyvrio</a:t>
            </a:r>
            <a:r>
              <a:rPr lang="en-US" sz="1100"/>
              <a:t>, initially FDA approved September 2022 but removed in April 2024 due to negative Phase 3 results</a:t>
            </a:r>
          </a:p>
          <a:p>
            <a:pPr marL="0" lvl="1" indent="0">
              <a:spcBef>
                <a:spcPts val="600"/>
              </a:spcBef>
              <a:buNone/>
            </a:pPr>
            <a:endParaRPr lang="en-US" sz="1100" i="1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26F61EB-B7D0-51BB-5917-8A0182634E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495925" y="1737443"/>
            <a:ext cx="6086477" cy="439447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sz="1100" err="1"/>
              <a:t>Neurizon</a:t>
            </a:r>
            <a:r>
              <a:rPr lang="en-US" sz="1100"/>
              <a:t> is developing the </a:t>
            </a:r>
            <a:r>
              <a:rPr lang="en-US" sz="1100" b="1"/>
              <a:t>global market access strategy for NUZ-001 </a:t>
            </a:r>
            <a:r>
              <a:rPr lang="en-US" sz="1100"/>
              <a:t>and has partnered with EVERSANA to support the following initiatives that will provide insights for the US forecast model and beyond:</a:t>
            </a:r>
          </a:p>
          <a:p>
            <a:pPr marL="365760" lvl="3">
              <a:spcBef>
                <a:spcPts val="600"/>
              </a:spcBef>
              <a:buFont typeface="+mj-lt"/>
              <a:buAutoNum type="arabicPeriod"/>
            </a:pPr>
            <a:r>
              <a:rPr lang="en-US" b="1">
                <a:solidFill>
                  <a:srgbClr val="3F4344"/>
                </a:solidFill>
              </a:rPr>
              <a:t>Landscape / Foundational Insights</a:t>
            </a:r>
            <a:endParaRPr lang="en-US" b="1">
              <a:solidFill>
                <a:srgbClr val="3F4344"/>
              </a:solidFill>
              <a:cs typeface="Arial"/>
            </a:endParaRPr>
          </a:p>
          <a:p>
            <a:pPr marL="628650" lvl="4" indent="-171450">
              <a:spcBef>
                <a:spcPts val="300"/>
              </a:spcBef>
            </a:pPr>
            <a:r>
              <a:rPr lang="en-US" sz="1100">
                <a:solidFill>
                  <a:srgbClr val="3F4344"/>
                </a:solidFill>
              </a:rPr>
              <a:t>Gap analysis of burden of disease / unmet need</a:t>
            </a:r>
            <a:endParaRPr lang="en-US" sz="1100">
              <a:solidFill>
                <a:srgbClr val="3F4344"/>
              </a:solidFill>
              <a:cs typeface="Arial"/>
            </a:endParaRPr>
          </a:p>
          <a:p>
            <a:pPr marL="628650" lvl="4" indent="-171450">
              <a:spcBef>
                <a:spcPts val="300"/>
              </a:spcBef>
            </a:pPr>
            <a:r>
              <a:rPr lang="en-US" sz="1100">
                <a:solidFill>
                  <a:srgbClr val="3F4344"/>
                </a:solidFill>
              </a:rPr>
              <a:t>Analogue assessment </a:t>
            </a:r>
          </a:p>
          <a:p>
            <a:pPr marL="628650" lvl="4" indent="-171450">
              <a:spcBef>
                <a:spcPts val="300"/>
              </a:spcBef>
            </a:pPr>
            <a:r>
              <a:rPr lang="en-US" sz="1100">
                <a:solidFill>
                  <a:srgbClr val="3F4344"/>
                </a:solidFill>
              </a:rPr>
              <a:t>Competitive scenarios at launch</a:t>
            </a:r>
          </a:p>
          <a:p>
            <a:pPr marL="628650" lvl="4" indent="-171450">
              <a:spcBef>
                <a:spcPts val="300"/>
              </a:spcBef>
            </a:pPr>
            <a:r>
              <a:rPr lang="en-US" sz="1100">
                <a:solidFill>
                  <a:srgbClr val="3F4344"/>
                </a:solidFill>
                <a:cs typeface="Arial"/>
              </a:rPr>
              <a:t>Likely data scenarios for testing</a:t>
            </a:r>
          </a:p>
          <a:p>
            <a:pPr marL="365760" lvl="3">
              <a:spcBef>
                <a:spcPts val="600"/>
              </a:spcBef>
              <a:buFont typeface="+mj-lt"/>
              <a:buAutoNum type="arabicPeriod"/>
            </a:pPr>
            <a:r>
              <a:rPr lang="en-US" b="1">
                <a:solidFill>
                  <a:srgbClr val="3F4344"/>
                </a:solidFill>
              </a:rPr>
              <a:t>US Payer, Provider and Patient Stakeholder Insights</a:t>
            </a:r>
          </a:p>
          <a:p>
            <a:pPr marL="628650" lvl="4" indent="-171450">
              <a:spcBef>
                <a:spcPts val="300"/>
              </a:spcBef>
            </a:pPr>
            <a:r>
              <a:rPr lang="en-US" sz="1100">
                <a:solidFill>
                  <a:srgbClr val="3F4344"/>
                </a:solidFill>
              </a:rPr>
              <a:t>Stakeholder reaction to NUZ-001 TPPs</a:t>
            </a:r>
          </a:p>
          <a:p>
            <a:pPr marL="628650" lvl="4" indent="-171450">
              <a:spcBef>
                <a:spcPts val="300"/>
              </a:spcBef>
            </a:pPr>
            <a:r>
              <a:rPr lang="en-US" sz="1100">
                <a:solidFill>
                  <a:srgbClr val="3F4344"/>
                </a:solidFill>
              </a:rPr>
              <a:t>Opportunities and drivers</a:t>
            </a:r>
          </a:p>
          <a:p>
            <a:pPr marL="628650" lvl="4" indent="-171450">
              <a:spcBef>
                <a:spcPts val="300"/>
              </a:spcBef>
            </a:pPr>
            <a:r>
              <a:rPr lang="en-US" sz="1100">
                <a:solidFill>
                  <a:srgbClr val="3F4344"/>
                </a:solidFill>
              </a:rPr>
              <a:t>Comparators and price potential</a:t>
            </a:r>
          </a:p>
          <a:p>
            <a:pPr marL="628650" lvl="4" indent="-171450">
              <a:spcBef>
                <a:spcPts val="300"/>
              </a:spcBef>
            </a:pPr>
            <a:r>
              <a:rPr lang="en-US" sz="1100">
                <a:solidFill>
                  <a:srgbClr val="3F4344"/>
                </a:solidFill>
              </a:rPr>
              <a:t>Opportunities to enhance the value proposition for payers</a:t>
            </a:r>
          </a:p>
          <a:p>
            <a:pPr marL="628650" lvl="4" indent="-171450">
              <a:spcBef>
                <a:spcPts val="300"/>
              </a:spcBef>
            </a:pPr>
            <a:r>
              <a:rPr lang="en-US" sz="1100">
                <a:solidFill>
                  <a:srgbClr val="3F4344"/>
                </a:solidFill>
              </a:rPr>
              <a:t>Opportunities to enhance price potential, reimbursement, access and uptake</a:t>
            </a:r>
          </a:p>
          <a:p>
            <a:pPr marL="365760" lvl="3">
              <a:spcBef>
                <a:spcPts val="600"/>
              </a:spcBef>
              <a:buFont typeface="+mj-lt"/>
              <a:buAutoNum type="arabicPeriod"/>
            </a:pPr>
            <a:r>
              <a:rPr lang="en-US" b="1">
                <a:solidFill>
                  <a:srgbClr val="3F4344"/>
                </a:solidFill>
              </a:rPr>
              <a:t>Forecast Model </a:t>
            </a:r>
            <a:r>
              <a:rPr lang="en-US">
                <a:solidFill>
                  <a:srgbClr val="3F4344"/>
                </a:solidFill>
              </a:rPr>
              <a:t>based on scenarios and research-informed inputs</a:t>
            </a:r>
          </a:p>
          <a:p>
            <a:pPr marL="365760" lvl="3">
              <a:spcBef>
                <a:spcPts val="600"/>
              </a:spcBef>
              <a:buFont typeface="+mj-lt"/>
              <a:buAutoNum type="arabicPeriod"/>
            </a:pPr>
            <a:r>
              <a:rPr lang="en-US" b="1">
                <a:solidFill>
                  <a:srgbClr val="3F4344"/>
                </a:solidFill>
              </a:rPr>
              <a:t>Global Access Insights</a:t>
            </a:r>
            <a:endParaRPr lang="en-US" b="1">
              <a:solidFill>
                <a:srgbClr val="3F4344"/>
              </a:solidFill>
              <a:cs typeface="Arial"/>
            </a:endParaRPr>
          </a:p>
          <a:p>
            <a:pPr marL="628650" lvl="4" indent="-171450">
              <a:spcBef>
                <a:spcPts val="300"/>
              </a:spcBef>
            </a:pPr>
            <a:r>
              <a:rPr lang="en-US" sz="1100">
                <a:solidFill>
                  <a:srgbClr val="3F4344"/>
                </a:solidFill>
              </a:rPr>
              <a:t>Considerations on how the model would need to be adapted for key regions (EU4, UK, Australia, Japan)</a:t>
            </a:r>
          </a:p>
          <a:p>
            <a:pPr marL="365760" lvl="3">
              <a:spcBef>
                <a:spcPts val="600"/>
              </a:spcBef>
              <a:buFont typeface="+mj-lt"/>
              <a:buAutoNum type="arabicPeriod"/>
            </a:pPr>
            <a:r>
              <a:rPr lang="en-US" b="1">
                <a:solidFill>
                  <a:srgbClr val="3F4344"/>
                </a:solidFill>
              </a:rPr>
              <a:t>Go-to-Market Models</a:t>
            </a:r>
          </a:p>
          <a:p>
            <a:pPr marL="640080" lvl="4">
              <a:spcBef>
                <a:spcPts val="600"/>
              </a:spcBef>
            </a:pPr>
            <a:r>
              <a:rPr lang="en-US" sz="1100">
                <a:solidFill>
                  <a:srgbClr val="3F4344"/>
                </a:solidFill>
              </a:rPr>
              <a:t>Top-level cost and requirements of different go-to-market models (e.g., </a:t>
            </a:r>
            <a:r>
              <a:rPr lang="en-US" sz="1100" err="1">
                <a:solidFill>
                  <a:srgbClr val="3F4344"/>
                </a:solidFill>
              </a:rPr>
              <a:t>Neurizon</a:t>
            </a:r>
            <a:r>
              <a:rPr lang="en-US" sz="1100">
                <a:solidFill>
                  <a:srgbClr val="3F4344"/>
                </a:solidFill>
              </a:rPr>
              <a:t> go alone including various vendor partnership options, big pharma acquisition)</a:t>
            </a:r>
          </a:p>
          <a:p>
            <a:pPr marL="365760" lvl="3">
              <a:spcBef>
                <a:spcPts val="600"/>
              </a:spcBef>
              <a:buFont typeface="+mj-lt"/>
              <a:buAutoNum type="arabicPeriod"/>
            </a:pPr>
            <a:r>
              <a:rPr lang="en-US" b="1">
                <a:solidFill>
                  <a:srgbClr val="3F4344"/>
                </a:solidFill>
              </a:rPr>
              <a:t>Investor Deck Suppor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CD27AA4-D33B-E5B8-4552-D59E5DD5B34E}"/>
              </a:ext>
            </a:extLst>
          </p:cNvPr>
          <p:cNvSpPr/>
          <p:nvPr/>
        </p:nvSpPr>
        <p:spPr>
          <a:xfrm>
            <a:off x="609600" y="1252812"/>
            <a:ext cx="5353878" cy="484632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571500"/>
            <a:r>
              <a:rPr lang="en-US" sz="1600" b="1">
                <a:solidFill>
                  <a:schemeClr val="tx1"/>
                </a:solidFill>
              </a:rPr>
              <a:t>Background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7DB22F4-073A-6FFF-190A-B1840700D206}"/>
              </a:ext>
            </a:extLst>
          </p:cNvPr>
          <p:cNvSpPr/>
          <p:nvPr/>
        </p:nvSpPr>
        <p:spPr>
          <a:xfrm>
            <a:off x="6245087" y="1252812"/>
            <a:ext cx="5358384" cy="484632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571500" lvl="0"/>
            <a:r>
              <a:rPr lang="en-US" sz="1600" b="1">
                <a:solidFill>
                  <a:schemeClr val="tx1"/>
                </a:solidFill>
              </a:rPr>
              <a:t>Business Need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B436EAF0-1C27-C5CC-7E7B-737E915F17FA}"/>
              </a:ext>
            </a:extLst>
          </p:cNvPr>
          <p:cNvSpPr>
            <a:spLocks noChangeAspect="1"/>
          </p:cNvSpPr>
          <p:nvPr/>
        </p:nvSpPr>
        <p:spPr>
          <a:xfrm>
            <a:off x="647698" y="1279718"/>
            <a:ext cx="339391" cy="401932"/>
          </a:xfrm>
          <a:custGeom>
            <a:avLst/>
            <a:gdLst>
              <a:gd name="connsiteX0" fmla="*/ 108792 w 555925"/>
              <a:gd name="connsiteY0" fmla="*/ 539767 h 658368"/>
              <a:gd name="connsiteX1" fmla="*/ 368741 w 555925"/>
              <a:gd name="connsiteY1" fmla="*/ 539767 h 658368"/>
              <a:gd name="connsiteX2" fmla="*/ 378385 w 555925"/>
              <a:gd name="connsiteY2" fmla="*/ 549416 h 658368"/>
              <a:gd name="connsiteX3" fmla="*/ 368741 w 555925"/>
              <a:gd name="connsiteY3" fmla="*/ 559060 h 658368"/>
              <a:gd name="connsiteX4" fmla="*/ 108792 w 555925"/>
              <a:gd name="connsiteY4" fmla="*/ 559060 h 658368"/>
              <a:gd name="connsiteX5" fmla="*/ 99143 w 555925"/>
              <a:gd name="connsiteY5" fmla="*/ 549416 h 658368"/>
              <a:gd name="connsiteX6" fmla="*/ 108792 w 555925"/>
              <a:gd name="connsiteY6" fmla="*/ 539767 h 658368"/>
              <a:gd name="connsiteX7" fmla="*/ 435469 w 555925"/>
              <a:gd name="connsiteY7" fmla="*/ 513828 h 658368"/>
              <a:gd name="connsiteX8" fmla="*/ 423545 w 555925"/>
              <a:gd name="connsiteY8" fmla="*/ 525752 h 658368"/>
              <a:gd name="connsiteX9" fmla="*/ 423545 w 555925"/>
              <a:gd name="connsiteY9" fmla="*/ 533277 h 658368"/>
              <a:gd name="connsiteX10" fmla="*/ 474699 w 555925"/>
              <a:gd name="connsiteY10" fmla="*/ 584430 h 658368"/>
              <a:gd name="connsiteX11" fmla="*/ 474704 w 555925"/>
              <a:gd name="connsiteY11" fmla="*/ 584435 h 658368"/>
              <a:gd name="connsiteX12" fmla="*/ 515641 w 555925"/>
              <a:gd name="connsiteY12" fmla="*/ 625372 h 658368"/>
              <a:gd name="connsiteX13" fmla="*/ 523165 w 555925"/>
              <a:gd name="connsiteY13" fmla="*/ 625372 h 658368"/>
              <a:gd name="connsiteX14" fmla="*/ 535090 w 555925"/>
              <a:gd name="connsiteY14" fmla="*/ 613447 h 658368"/>
              <a:gd name="connsiteX15" fmla="*/ 535090 w 555925"/>
              <a:gd name="connsiteY15" fmla="*/ 605924 h 658368"/>
              <a:gd name="connsiteX16" fmla="*/ 442989 w 555925"/>
              <a:gd name="connsiteY16" fmla="*/ 513828 h 658368"/>
              <a:gd name="connsiteX17" fmla="*/ 435469 w 555925"/>
              <a:gd name="connsiteY17" fmla="*/ 513828 h 658368"/>
              <a:gd name="connsiteX18" fmla="*/ 405080 w 555925"/>
              <a:gd name="connsiteY18" fmla="*/ 486090 h 658368"/>
              <a:gd name="connsiteX19" fmla="*/ 405045 w 555925"/>
              <a:gd name="connsiteY19" fmla="*/ 486126 h 658368"/>
              <a:gd name="connsiteX20" fmla="*/ 395813 w 555925"/>
              <a:gd name="connsiteY20" fmla="*/ 495354 h 658368"/>
              <a:gd name="connsiteX21" fmla="*/ 395809 w 555925"/>
              <a:gd name="connsiteY21" fmla="*/ 495358 h 658368"/>
              <a:gd name="connsiteX22" fmla="*/ 411234 w 555925"/>
              <a:gd name="connsiteY22" fmla="*/ 510779 h 658368"/>
              <a:gd name="connsiteX23" fmla="*/ 420502 w 555925"/>
              <a:gd name="connsiteY23" fmla="*/ 501517 h 658368"/>
              <a:gd name="connsiteX24" fmla="*/ 301482 w 555925"/>
              <a:gd name="connsiteY24" fmla="*/ 311477 h 658368"/>
              <a:gd name="connsiteX25" fmla="*/ 244682 w 555925"/>
              <a:gd name="connsiteY25" fmla="*/ 448560 h 658368"/>
              <a:gd name="connsiteX26" fmla="*/ 301482 w 555925"/>
              <a:gd name="connsiteY26" fmla="*/ 472048 h 658368"/>
              <a:gd name="connsiteX27" fmla="*/ 358283 w 555925"/>
              <a:gd name="connsiteY27" fmla="*/ 334960 h 658368"/>
              <a:gd name="connsiteX28" fmla="*/ 301482 w 555925"/>
              <a:gd name="connsiteY28" fmla="*/ 311477 h 658368"/>
              <a:gd name="connsiteX29" fmla="*/ 301482 w 555925"/>
              <a:gd name="connsiteY29" fmla="*/ 292189 h 658368"/>
              <a:gd name="connsiteX30" fmla="*/ 371919 w 555925"/>
              <a:gd name="connsiteY30" fmla="*/ 321323 h 658368"/>
              <a:gd name="connsiteX31" fmla="*/ 301482 w 555925"/>
              <a:gd name="connsiteY31" fmla="*/ 491336 h 658368"/>
              <a:gd name="connsiteX32" fmla="*/ 231041 w 555925"/>
              <a:gd name="connsiteY32" fmla="*/ 462202 h 658368"/>
              <a:gd name="connsiteX33" fmla="*/ 301482 w 555925"/>
              <a:gd name="connsiteY33" fmla="*/ 292189 h 658368"/>
              <a:gd name="connsiteX34" fmla="*/ 301482 w 555925"/>
              <a:gd name="connsiteY34" fmla="*/ 271003 h 658368"/>
              <a:gd name="connsiteX35" fmla="*/ 216048 w 555925"/>
              <a:gd name="connsiteY35" fmla="*/ 306330 h 658368"/>
              <a:gd name="connsiteX36" fmla="*/ 301482 w 555925"/>
              <a:gd name="connsiteY36" fmla="*/ 512521 h 658368"/>
              <a:gd name="connsiteX37" fmla="*/ 422239 w 555925"/>
              <a:gd name="connsiteY37" fmla="*/ 391760 h 658368"/>
              <a:gd name="connsiteX38" fmla="*/ 301482 w 555925"/>
              <a:gd name="connsiteY38" fmla="*/ 271003 h 658368"/>
              <a:gd name="connsiteX39" fmla="*/ 108792 w 555925"/>
              <a:gd name="connsiteY39" fmla="*/ 220648 h 658368"/>
              <a:gd name="connsiteX40" fmla="*/ 368741 w 555925"/>
              <a:gd name="connsiteY40" fmla="*/ 220648 h 658368"/>
              <a:gd name="connsiteX41" fmla="*/ 378385 w 555925"/>
              <a:gd name="connsiteY41" fmla="*/ 230297 h 658368"/>
              <a:gd name="connsiteX42" fmla="*/ 368741 w 555925"/>
              <a:gd name="connsiteY42" fmla="*/ 239941 h 658368"/>
              <a:gd name="connsiteX43" fmla="*/ 108792 w 555925"/>
              <a:gd name="connsiteY43" fmla="*/ 239941 h 658368"/>
              <a:gd name="connsiteX44" fmla="*/ 99143 w 555925"/>
              <a:gd name="connsiteY44" fmla="*/ 230297 h 658368"/>
              <a:gd name="connsiteX45" fmla="*/ 108792 w 555925"/>
              <a:gd name="connsiteY45" fmla="*/ 220648 h 658368"/>
              <a:gd name="connsiteX46" fmla="*/ 173779 w 555925"/>
              <a:gd name="connsiteY46" fmla="*/ 175065 h 658368"/>
              <a:gd name="connsiteX47" fmla="*/ 303754 w 555925"/>
              <a:gd name="connsiteY47" fmla="*/ 175065 h 658368"/>
              <a:gd name="connsiteX48" fmla="*/ 313398 w 555925"/>
              <a:gd name="connsiteY48" fmla="*/ 184709 h 658368"/>
              <a:gd name="connsiteX49" fmla="*/ 303754 w 555925"/>
              <a:gd name="connsiteY49" fmla="*/ 194353 h 658368"/>
              <a:gd name="connsiteX50" fmla="*/ 173779 w 555925"/>
              <a:gd name="connsiteY50" fmla="*/ 194353 h 658368"/>
              <a:gd name="connsiteX51" fmla="*/ 164130 w 555925"/>
              <a:gd name="connsiteY51" fmla="*/ 184709 h 658368"/>
              <a:gd name="connsiteX52" fmla="*/ 173779 w 555925"/>
              <a:gd name="connsiteY52" fmla="*/ 175065 h 658368"/>
              <a:gd name="connsiteX53" fmla="*/ 59783 w 555925"/>
              <a:gd name="connsiteY53" fmla="*/ 122525 h 658368"/>
              <a:gd name="connsiteX54" fmla="*/ 59783 w 555925"/>
              <a:gd name="connsiteY54" fmla="*/ 598585 h 658368"/>
              <a:gd name="connsiteX55" fmla="*/ 417743 w 555925"/>
              <a:gd name="connsiteY55" fmla="*/ 598585 h 658368"/>
              <a:gd name="connsiteX56" fmla="*/ 417743 w 555925"/>
              <a:gd name="connsiteY56" fmla="*/ 554755 h 658368"/>
              <a:gd name="connsiteX57" fmla="*/ 409902 w 555925"/>
              <a:gd name="connsiteY57" fmla="*/ 546914 h 658368"/>
              <a:gd name="connsiteX58" fmla="*/ 402695 w 555925"/>
              <a:gd name="connsiteY58" fmla="*/ 529525 h 658368"/>
              <a:gd name="connsiteX59" fmla="*/ 380593 w 555925"/>
              <a:gd name="connsiteY59" fmla="*/ 507423 h 658368"/>
              <a:gd name="connsiteX60" fmla="*/ 301482 w 555925"/>
              <a:gd name="connsiteY60" fmla="*/ 531815 h 658368"/>
              <a:gd name="connsiteX61" fmla="*/ 300101 w 555925"/>
              <a:gd name="connsiteY61" fmla="*/ 531794 h 658368"/>
              <a:gd name="connsiteX62" fmla="*/ 300036 w 555925"/>
              <a:gd name="connsiteY62" fmla="*/ 531794 h 658368"/>
              <a:gd name="connsiteX63" fmla="*/ 231990 w 555925"/>
              <a:gd name="connsiteY63" fmla="*/ 513470 h 658368"/>
              <a:gd name="connsiteX64" fmla="*/ 108792 w 555925"/>
              <a:gd name="connsiteY64" fmla="*/ 513470 h 658368"/>
              <a:gd name="connsiteX65" fmla="*/ 99143 w 555925"/>
              <a:gd name="connsiteY65" fmla="*/ 503826 h 658368"/>
              <a:gd name="connsiteX66" fmla="*/ 108792 w 555925"/>
              <a:gd name="connsiteY66" fmla="*/ 494182 h 658368"/>
              <a:gd name="connsiteX67" fmla="*/ 205880 w 555925"/>
              <a:gd name="connsiteY67" fmla="*/ 494182 h 658368"/>
              <a:gd name="connsiteX68" fmla="*/ 183845 w 555925"/>
              <a:gd name="connsiteY68" fmla="*/ 467882 h 658368"/>
              <a:gd name="connsiteX69" fmla="*/ 108792 w 555925"/>
              <a:gd name="connsiteY69" fmla="*/ 467882 h 658368"/>
              <a:gd name="connsiteX70" fmla="*/ 99143 w 555925"/>
              <a:gd name="connsiteY70" fmla="*/ 458238 h 658368"/>
              <a:gd name="connsiteX71" fmla="*/ 108792 w 555925"/>
              <a:gd name="connsiteY71" fmla="*/ 448594 h 658368"/>
              <a:gd name="connsiteX72" fmla="*/ 173417 w 555925"/>
              <a:gd name="connsiteY72" fmla="*/ 448594 h 658368"/>
              <a:gd name="connsiteX73" fmla="*/ 164782 w 555925"/>
              <a:gd name="connsiteY73" fmla="*/ 422294 h 658368"/>
              <a:gd name="connsiteX74" fmla="*/ 108792 w 555925"/>
              <a:gd name="connsiteY74" fmla="*/ 422294 h 658368"/>
              <a:gd name="connsiteX75" fmla="*/ 99143 w 555925"/>
              <a:gd name="connsiteY75" fmla="*/ 412650 h 658368"/>
              <a:gd name="connsiteX76" fmla="*/ 108792 w 555925"/>
              <a:gd name="connsiteY76" fmla="*/ 403006 h 658368"/>
              <a:gd name="connsiteX77" fmla="*/ 161894 w 555925"/>
              <a:gd name="connsiteY77" fmla="*/ 403006 h 658368"/>
              <a:gd name="connsiteX78" fmla="*/ 161438 w 555925"/>
              <a:gd name="connsiteY78" fmla="*/ 391765 h 658368"/>
              <a:gd name="connsiteX79" fmla="*/ 162252 w 555925"/>
              <a:gd name="connsiteY79" fmla="*/ 376706 h 658368"/>
              <a:gd name="connsiteX80" fmla="*/ 108792 w 555925"/>
              <a:gd name="connsiteY80" fmla="*/ 376706 h 658368"/>
              <a:gd name="connsiteX81" fmla="*/ 99143 w 555925"/>
              <a:gd name="connsiteY81" fmla="*/ 367062 h 658368"/>
              <a:gd name="connsiteX82" fmla="*/ 108792 w 555925"/>
              <a:gd name="connsiteY82" fmla="*/ 357418 h 658368"/>
              <a:gd name="connsiteX83" fmla="*/ 165688 w 555925"/>
              <a:gd name="connsiteY83" fmla="*/ 357418 h 658368"/>
              <a:gd name="connsiteX84" fmla="*/ 175175 w 555925"/>
              <a:gd name="connsiteY84" fmla="*/ 331118 h 658368"/>
              <a:gd name="connsiteX85" fmla="*/ 108792 w 555925"/>
              <a:gd name="connsiteY85" fmla="*/ 331118 h 658368"/>
              <a:gd name="connsiteX86" fmla="*/ 99143 w 555925"/>
              <a:gd name="connsiteY86" fmla="*/ 321474 h 658368"/>
              <a:gd name="connsiteX87" fmla="*/ 108792 w 555925"/>
              <a:gd name="connsiteY87" fmla="*/ 311830 h 658368"/>
              <a:gd name="connsiteX88" fmla="*/ 186397 w 555925"/>
              <a:gd name="connsiteY88" fmla="*/ 311830 h 658368"/>
              <a:gd name="connsiteX89" fmla="*/ 210120 w 555925"/>
              <a:gd name="connsiteY89" fmla="*/ 285530 h 658368"/>
              <a:gd name="connsiteX90" fmla="*/ 108792 w 555925"/>
              <a:gd name="connsiteY90" fmla="*/ 285530 h 658368"/>
              <a:gd name="connsiteX91" fmla="*/ 99143 w 555925"/>
              <a:gd name="connsiteY91" fmla="*/ 275886 h 658368"/>
              <a:gd name="connsiteX92" fmla="*/ 108792 w 555925"/>
              <a:gd name="connsiteY92" fmla="*/ 266242 h 658368"/>
              <a:gd name="connsiteX93" fmla="*/ 238766 w 555925"/>
              <a:gd name="connsiteY93" fmla="*/ 266242 h 658368"/>
              <a:gd name="connsiteX94" fmla="*/ 239102 w 555925"/>
              <a:gd name="connsiteY94" fmla="*/ 266257 h 658368"/>
              <a:gd name="connsiteX95" fmla="*/ 301482 w 555925"/>
              <a:gd name="connsiteY95" fmla="*/ 251710 h 658368"/>
              <a:gd name="connsiteX96" fmla="*/ 417743 w 555925"/>
              <a:gd name="connsiteY96" fmla="*/ 313522 h 658368"/>
              <a:gd name="connsiteX97" fmla="*/ 417743 w 555925"/>
              <a:gd name="connsiteY97" fmla="*/ 122525 h 658368"/>
              <a:gd name="connsiteX98" fmla="*/ 334127 w 555925"/>
              <a:gd name="connsiteY98" fmla="*/ 122525 h 658368"/>
              <a:gd name="connsiteX99" fmla="*/ 314602 w 555925"/>
              <a:gd name="connsiteY99" fmla="*/ 138748 h 658368"/>
              <a:gd name="connsiteX100" fmla="*/ 162924 w 555925"/>
              <a:gd name="connsiteY100" fmla="*/ 138748 h 658368"/>
              <a:gd name="connsiteX101" fmla="*/ 143401 w 555925"/>
              <a:gd name="connsiteY101" fmla="*/ 122525 h 658368"/>
              <a:gd name="connsiteX102" fmla="*/ 191932 w 555925"/>
              <a:gd name="connsiteY102" fmla="*/ 86053 h 658368"/>
              <a:gd name="connsiteX103" fmla="*/ 285595 w 555925"/>
              <a:gd name="connsiteY103" fmla="*/ 86053 h 658368"/>
              <a:gd name="connsiteX104" fmla="*/ 295239 w 555925"/>
              <a:gd name="connsiteY104" fmla="*/ 95697 h 658368"/>
              <a:gd name="connsiteX105" fmla="*/ 285595 w 555925"/>
              <a:gd name="connsiteY105" fmla="*/ 105341 h 658368"/>
              <a:gd name="connsiteX106" fmla="*/ 191932 w 555925"/>
              <a:gd name="connsiteY106" fmla="*/ 105341 h 658368"/>
              <a:gd name="connsiteX107" fmla="*/ 182288 w 555925"/>
              <a:gd name="connsiteY107" fmla="*/ 95697 h 658368"/>
              <a:gd name="connsiteX108" fmla="*/ 191932 w 555925"/>
              <a:gd name="connsiteY108" fmla="*/ 86053 h 658368"/>
              <a:gd name="connsiteX109" fmla="*/ 162924 w 555925"/>
              <a:gd name="connsiteY109" fmla="*/ 71934 h 658368"/>
              <a:gd name="connsiteX110" fmla="*/ 162362 w 555925"/>
              <a:gd name="connsiteY110" fmla="*/ 72481 h 658368"/>
              <a:gd name="connsiteX111" fmla="*/ 162357 w 555925"/>
              <a:gd name="connsiteY111" fmla="*/ 72687 h 658368"/>
              <a:gd name="connsiteX112" fmla="*/ 162357 w 555925"/>
              <a:gd name="connsiteY112" fmla="*/ 118893 h 658368"/>
              <a:gd name="connsiteX113" fmla="*/ 162608 w 555925"/>
              <a:gd name="connsiteY113" fmla="*/ 119335 h 658368"/>
              <a:gd name="connsiteX114" fmla="*/ 162924 w 555925"/>
              <a:gd name="connsiteY114" fmla="*/ 119461 h 658368"/>
              <a:gd name="connsiteX115" fmla="*/ 314602 w 555925"/>
              <a:gd name="connsiteY115" fmla="*/ 119461 h 658368"/>
              <a:gd name="connsiteX116" fmla="*/ 314913 w 555925"/>
              <a:gd name="connsiteY116" fmla="*/ 119340 h 658368"/>
              <a:gd name="connsiteX117" fmla="*/ 315171 w 555925"/>
              <a:gd name="connsiteY117" fmla="*/ 118893 h 658368"/>
              <a:gd name="connsiteX118" fmla="*/ 315171 w 555925"/>
              <a:gd name="connsiteY118" fmla="*/ 72687 h 658368"/>
              <a:gd name="connsiteX119" fmla="*/ 315165 w 555925"/>
              <a:gd name="connsiteY119" fmla="*/ 72481 h 658368"/>
              <a:gd name="connsiteX120" fmla="*/ 314607 w 555925"/>
              <a:gd name="connsiteY120" fmla="*/ 71934 h 658368"/>
              <a:gd name="connsiteX121" fmla="*/ 238766 w 555925"/>
              <a:gd name="connsiteY121" fmla="*/ 19288 h 658368"/>
              <a:gd name="connsiteX122" fmla="*/ 215002 w 555925"/>
              <a:gd name="connsiteY122" fmla="*/ 43052 h 658368"/>
              <a:gd name="connsiteX123" fmla="*/ 215002 w 555925"/>
              <a:gd name="connsiteY123" fmla="*/ 52645 h 658368"/>
              <a:gd name="connsiteX124" fmla="*/ 262529 w 555925"/>
              <a:gd name="connsiteY124" fmla="*/ 52645 h 658368"/>
              <a:gd name="connsiteX125" fmla="*/ 262529 w 555925"/>
              <a:gd name="connsiteY125" fmla="*/ 43052 h 658368"/>
              <a:gd name="connsiteX126" fmla="*/ 238766 w 555925"/>
              <a:gd name="connsiteY126" fmla="*/ 19288 h 658368"/>
              <a:gd name="connsiteX127" fmla="*/ 238766 w 555925"/>
              <a:gd name="connsiteY127" fmla="*/ 0 h 658368"/>
              <a:gd name="connsiteX128" fmla="*/ 281817 w 555925"/>
              <a:gd name="connsiteY128" fmla="*/ 43052 h 658368"/>
              <a:gd name="connsiteX129" fmla="*/ 281817 w 555925"/>
              <a:gd name="connsiteY129" fmla="*/ 52640 h 658368"/>
              <a:gd name="connsiteX130" fmla="*/ 314607 w 555925"/>
              <a:gd name="connsiteY130" fmla="*/ 52640 h 658368"/>
              <a:gd name="connsiteX131" fmla="*/ 331877 w 555925"/>
              <a:gd name="connsiteY131" fmla="*/ 62742 h 658368"/>
              <a:gd name="connsiteX132" fmla="*/ 431437 w 555925"/>
              <a:gd name="connsiteY132" fmla="*/ 62742 h 658368"/>
              <a:gd name="connsiteX133" fmla="*/ 477526 w 555925"/>
              <a:gd name="connsiteY133" fmla="*/ 108827 h 658368"/>
              <a:gd name="connsiteX134" fmla="*/ 477526 w 555925"/>
              <a:gd name="connsiteY134" fmla="*/ 339285 h 658368"/>
              <a:gd name="connsiteX135" fmla="*/ 467882 w 555925"/>
              <a:gd name="connsiteY135" fmla="*/ 348934 h 658368"/>
              <a:gd name="connsiteX136" fmla="*/ 458238 w 555925"/>
              <a:gd name="connsiteY136" fmla="*/ 339285 h 658368"/>
              <a:gd name="connsiteX137" fmla="*/ 458238 w 555925"/>
              <a:gd name="connsiteY137" fmla="*/ 108827 h 658368"/>
              <a:gd name="connsiteX138" fmla="*/ 431437 w 555925"/>
              <a:gd name="connsiteY138" fmla="*/ 82030 h 658368"/>
              <a:gd name="connsiteX139" fmla="*/ 334459 w 555925"/>
              <a:gd name="connsiteY139" fmla="*/ 82030 h 658368"/>
              <a:gd name="connsiteX140" fmla="*/ 334459 w 555925"/>
              <a:gd name="connsiteY140" fmla="*/ 103232 h 658368"/>
              <a:gd name="connsiteX141" fmla="*/ 424143 w 555925"/>
              <a:gd name="connsiteY141" fmla="*/ 103232 h 658368"/>
              <a:gd name="connsiteX142" fmla="*/ 437032 w 555925"/>
              <a:gd name="connsiteY142" fmla="*/ 116121 h 658368"/>
              <a:gd name="connsiteX143" fmla="*/ 437032 w 555925"/>
              <a:gd name="connsiteY143" fmla="*/ 356303 h 658368"/>
              <a:gd name="connsiteX144" fmla="*/ 441527 w 555925"/>
              <a:gd name="connsiteY144" fmla="*/ 391760 h 658368"/>
              <a:gd name="connsiteX145" fmla="*/ 437032 w 555925"/>
              <a:gd name="connsiteY145" fmla="*/ 427222 h 658368"/>
              <a:gd name="connsiteX146" fmla="*/ 437032 w 555925"/>
              <a:gd name="connsiteY146" fmla="*/ 490767 h 658368"/>
              <a:gd name="connsiteX147" fmla="*/ 439242 w 555925"/>
              <a:gd name="connsiteY147" fmla="*/ 492977 h 658368"/>
              <a:gd name="connsiteX148" fmla="*/ 456631 w 555925"/>
              <a:gd name="connsiteY148" fmla="*/ 500185 h 658368"/>
              <a:gd name="connsiteX149" fmla="*/ 458233 w 555925"/>
              <a:gd name="connsiteY149" fmla="*/ 501792 h 658368"/>
              <a:gd name="connsiteX150" fmla="*/ 458233 w 555925"/>
              <a:gd name="connsiteY150" fmla="*/ 384295 h 658368"/>
              <a:gd name="connsiteX151" fmla="*/ 467882 w 555925"/>
              <a:gd name="connsiteY151" fmla="*/ 374651 h 658368"/>
              <a:gd name="connsiteX152" fmla="*/ 477526 w 555925"/>
              <a:gd name="connsiteY152" fmla="*/ 384295 h 658368"/>
              <a:gd name="connsiteX153" fmla="*/ 477526 w 555925"/>
              <a:gd name="connsiteY153" fmla="*/ 521080 h 658368"/>
              <a:gd name="connsiteX154" fmla="*/ 548732 w 555925"/>
              <a:gd name="connsiteY154" fmla="*/ 592286 h 658368"/>
              <a:gd name="connsiteX155" fmla="*/ 548732 w 555925"/>
              <a:gd name="connsiteY155" fmla="*/ 627085 h 658368"/>
              <a:gd name="connsiteX156" fmla="*/ 536803 w 555925"/>
              <a:gd name="connsiteY156" fmla="*/ 639009 h 658368"/>
              <a:gd name="connsiteX157" fmla="*/ 502003 w 555925"/>
              <a:gd name="connsiteY157" fmla="*/ 639014 h 658368"/>
              <a:gd name="connsiteX158" fmla="*/ 477471 w 555925"/>
              <a:gd name="connsiteY158" fmla="*/ 614477 h 658368"/>
              <a:gd name="connsiteX159" fmla="*/ 431437 w 555925"/>
              <a:gd name="connsiteY159" fmla="*/ 658368 h 658368"/>
              <a:gd name="connsiteX160" fmla="*/ 261269 w 555925"/>
              <a:gd name="connsiteY160" fmla="*/ 658368 h 658368"/>
              <a:gd name="connsiteX161" fmla="*/ 251625 w 555925"/>
              <a:gd name="connsiteY161" fmla="*/ 648724 h 658368"/>
              <a:gd name="connsiteX162" fmla="*/ 261269 w 555925"/>
              <a:gd name="connsiteY162" fmla="*/ 639080 h 658368"/>
              <a:gd name="connsiteX163" fmla="*/ 431437 w 555925"/>
              <a:gd name="connsiteY163" fmla="*/ 639080 h 658368"/>
              <a:gd name="connsiteX164" fmla="*/ 458233 w 555925"/>
              <a:gd name="connsiteY164" fmla="*/ 612277 h 658368"/>
              <a:gd name="connsiteX165" fmla="*/ 458233 w 555925"/>
              <a:gd name="connsiteY165" fmla="*/ 595244 h 658368"/>
              <a:gd name="connsiteX166" fmla="*/ 437032 w 555925"/>
              <a:gd name="connsiteY166" fmla="*/ 574043 h 658368"/>
              <a:gd name="connsiteX167" fmla="*/ 437032 w 555925"/>
              <a:gd name="connsiteY167" fmla="*/ 604984 h 658368"/>
              <a:gd name="connsiteX168" fmla="*/ 424143 w 555925"/>
              <a:gd name="connsiteY168" fmla="*/ 617873 h 658368"/>
              <a:gd name="connsiteX169" fmla="*/ 53384 w 555925"/>
              <a:gd name="connsiteY169" fmla="*/ 617873 h 658368"/>
              <a:gd name="connsiteX170" fmla="*/ 40495 w 555925"/>
              <a:gd name="connsiteY170" fmla="*/ 604984 h 658368"/>
              <a:gd name="connsiteX171" fmla="*/ 40495 w 555925"/>
              <a:gd name="connsiteY171" fmla="*/ 116121 h 658368"/>
              <a:gd name="connsiteX172" fmla="*/ 53384 w 555925"/>
              <a:gd name="connsiteY172" fmla="*/ 103232 h 658368"/>
              <a:gd name="connsiteX173" fmla="*/ 143069 w 555925"/>
              <a:gd name="connsiteY173" fmla="*/ 103232 h 658368"/>
              <a:gd name="connsiteX174" fmla="*/ 143069 w 555925"/>
              <a:gd name="connsiteY174" fmla="*/ 82030 h 658368"/>
              <a:gd name="connsiteX175" fmla="*/ 46091 w 555925"/>
              <a:gd name="connsiteY175" fmla="*/ 82030 h 658368"/>
              <a:gd name="connsiteX176" fmla="*/ 19288 w 555925"/>
              <a:gd name="connsiteY176" fmla="*/ 108827 h 658368"/>
              <a:gd name="connsiteX177" fmla="*/ 19288 w 555925"/>
              <a:gd name="connsiteY177" fmla="*/ 612277 h 658368"/>
              <a:gd name="connsiteX178" fmla="*/ 46091 w 555925"/>
              <a:gd name="connsiteY178" fmla="*/ 639080 h 658368"/>
              <a:gd name="connsiteX179" fmla="*/ 216258 w 555925"/>
              <a:gd name="connsiteY179" fmla="*/ 639080 h 658368"/>
              <a:gd name="connsiteX180" fmla="*/ 225902 w 555925"/>
              <a:gd name="connsiteY180" fmla="*/ 648724 h 658368"/>
              <a:gd name="connsiteX181" fmla="*/ 216258 w 555925"/>
              <a:gd name="connsiteY181" fmla="*/ 658368 h 658368"/>
              <a:gd name="connsiteX182" fmla="*/ 46091 w 555925"/>
              <a:gd name="connsiteY182" fmla="*/ 658368 h 658368"/>
              <a:gd name="connsiteX183" fmla="*/ 0 w 555925"/>
              <a:gd name="connsiteY183" fmla="*/ 612277 h 658368"/>
              <a:gd name="connsiteX184" fmla="*/ 0 w 555925"/>
              <a:gd name="connsiteY184" fmla="*/ 108832 h 658368"/>
              <a:gd name="connsiteX185" fmla="*/ 46091 w 555925"/>
              <a:gd name="connsiteY185" fmla="*/ 62742 h 658368"/>
              <a:gd name="connsiteX186" fmla="*/ 145651 w 555925"/>
              <a:gd name="connsiteY186" fmla="*/ 62742 h 658368"/>
              <a:gd name="connsiteX187" fmla="*/ 162924 w 555925"/>
              <a:gd name="connsiteY187" fmla="*/ 52645 h 658368"/>
              <a:gd name="connsiteX188" fmla="*/ 195709 w 555925"/>
              <a:gd name="connsiteY188" fmla="*/ 52645 h 658368"/>
              <a:gd name="connsiteX189" fmla="*/ 195709 w 555925"/>
              <a:gd name="connsiteY189" fmla="*/ 43052 h 658368"/>
              <a:gd name="connsiteX190" fmla="*/ 238766 w 555925"/>
              <a:gd name="connsiteY190" fmla="*/ 0 h 658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</a:cxnLst>
            <a:rect l="l" t="t" r="r" b="b"/>
            <a:pathLst>
              <a:path w="555925" h="658368">
                <a:moveTo>
                  <a:pt x="108792" y="539767"/>
                </a:moveTo>
                <a:lnTo>
                  <a:pt x="368741" y="539767"/>
                </a:lnTo>
                <a:cubicBezTo>
                  <a:pt x="374070" y="539767"/>
                  <a:pt x="378385" y="544086"/>
                  <a:pt x="378385" y="549416"/>
                </a:cubicBezTo>
                <a:cubicBezTo>
                  <a:pt x="378385" y="554740"/>
                  <a:pt x="374070" y="559060"/>
                  <a:pt x="368741" y="559060"/>
                </a:cubicBezTo>
                <a:lnTo>
                  <a:pt x="108792" y="559060"/>
                </a:lnTo>
                <a:cubicBezTo>
                  <a:pt x="103463" y="559060"/>
                  <a:pt x="99143" y="554740"/>
                  <a:pt x="99143" y="549416"/>
                </a:cubicBezTo>
                <a:cubicBezTo>
                  <a:pt x="99143" y="544086"/>
                  <a:pt x="103463" y="539767"/>
                  <a:pt x="108792" y="539767"/>
                </a:cubicBezTo>
                <a:close/>
                <a:moveTo>
                  <a:pt x="435469" y="513828"/>
                </a:moveTo>
                <a:lnTo>
                  <a:pt x="423545" y="525752"/>
                </a:lnTo>
                <a:cubicBezTo>
                  <a:pt x="421577" y="527721"/>
                  <a:pt x="421430" y="531156"/>
                  <a:pt x="423545" y="533277"/>
                </a:cubicBezTo>
                <a:lnTo>
                  <a:pt x="474699" y="584430"/>
                </a:lnTo>
                <a:cubicBezTo>
                  <a:pt x="474704" y="584430"/>
                  <a:pt x="474704" y="584430"/>
                  <a:pt x="474704" y="584435"/>
                </a:cubicBezTo>
                <a:lnTo>
                  <a:pt x="515641" y="625372"/>
                </a:lnTo>
                <a:cubicBezTo>
                  <a:pt x="517715" y="627447"/>
                  <a:pt x="521091" y="627447"/>
                  <a:pt x="523165" y="625372"/>
                </a:cubicBezTo>
                <a:lnTo>
                  <a:pt x="535090" y="613447"/>
                </a:lnTo>
                <a:cubicBezTo>
                  <a:pt x="537164" y="611373"/>
                  <a:pt x="537164" y="607998"/>
                  <a:pt x="535090" y="605924"/>
                </a:cubicBezTo>
                <a:lnTo>
                  <a:pt x="442989" y="513828"/>
                </a:lnTo>
                <a:cubicBezTo>
                  <a:pt x="440689" y="511522"/>
                  <a:pt x="437278" y="512015"/>
                  <a:pt x="435469" y="513828"/>
                </a:cubicBezTo>
                <a:close/>
                <a:moveTo>
                  <a:pt x="405080" y="486090"/>
                </a:moveTo>
                <a:cubicBezTo>
                  <a:pt x="405066" y="486106"/>
                  <a:pt x="405056" y="486116"/>
                  <a:pt x="405045" y="486126"/>
                </a:cubicBezTo>
                <a:cubicBezTo>
                  <a:pt x="402042" y="489416"/>
                  <a:pt x="399148" y="492314"/>
                  <a:pt x="395813" y="495354"/>
                </a:cubicBezTo>
                <a:cubicBezTo>
                  <a:pt x="395813" y="495354"/>
                  <a:pt x="395813" y="495358"/>
                  <a:pt x="395809" y="495358"/>
                </a:cubicBezTo>
                <a:lnTo>
                  <a:pt x="411234" y="510779"/>
                </a:lnTo>
                <a:lnTo>
                  <a:pt x="420502" y="501517"/>
                </a:lnTo>
                <a:close/>
                <a:moveTo>
                  <a:pt x="301482" y="311477"/>
                </a:moveTo>
                <a:cubicBezTo>
                  <a:pt x="230111" y="311477"/>
                  <a:pt x="194232" y="398114"/>
                  <a:pt x="244682" y="448560"/>
                </a:cubicBezTo>
                <a:cubicBezTo>
                  <a:pt x="259827" y="463704"/>
                  <a:pt x="279999" y="472048"/>
                  <a:pt x="301482" y="472048"/>
                </a:cubicBezTo>
                <a:cubicBezTo>
                  <a:pt x="372854" y="472048"/>
                  <a:pt x="408728" y="385407"/>
                  <a:pt x="358283" y="334960"/>
                </a:cubicBezTo>
                <a:cubicBezTo>
                  <a:pt x="343139" y="319816"/>
                  <a:pt x="322966" y="311477"/>
                  <a:pt x="301482" y="311477"/>
                </a:cubicBezTo>
                <a:close/>
                <a:moveTo>
                  <a:pt x="301482" y="292189"/>
                </a:moveTo>
                <a:cubicBezTo>
                  <a:pt x="328120" y="292189"/>
                  <a:pt x="353134" y="302536"/>
                  <a:pt x="371919" y="321323"/>
                </a:cubicBezTo>
                <a:cubicBezTo>
                  <a:pt x="434506" y="383905"/>
                  <a:pt x="389953" y="491336"/>
                  <a:pt x="301482" y="491336"/>
                </a:cubicBezTo>
                <a:cubicBezTo>
                  <a:pt x="274845" y="491336"/>
                  <a:pt x="249831" y="480994"/>
                  <a:pt x="231041" y="462202"/>
                </a:cubicBezTo>
                <a:cubicBezTo>
                  <a:pt x="168465" y="399621"/>
                  <a:pt x="213007" y="292189"/>
                  <a:pt x="301482" y="292189"/>
                </a:cubicBezTo>
                <a:close/>
                <a:moveTo>
                  <a:pt x="301482" y="271003"/>
                </a:moveTo>
                <a:cubicBezTo>
                  <a:pt x="269150" y="271003"/>
                  <a:pt x="238791" y="283586"/>
                  <a:pt x="216048" y="306330"/>
                </a:cubicBezTo>
                <a:cubicBezTo>
                  <a:pt x="140140" y="382237"/>
                  <a:pt x="194183" y="512521"/>
                  <a:pt x="301482" y="512521"/>
                </a:cubicBezTo>
                <a:cubicBezTo>
                  <a:pt x="367921" y="512521"/>
                  <a:pt x="422239" y="458862"/>
                  <a:pt x="422239" y="391760"/>
                </a:cubicBezTo>
                <a:cubicBezTo>
                  <a:pt x="422239" y="325819"/>
                  <a:pt x="369172" y="271003"/>
                  <a:pt x="301482" y="271003"/>
                </a:cubicBezTo>
                <a:close/>
                <a:moveTo>
                  <a:pt x="108792" y="220648"/>
                </a:moveTo>
                <a:lnTo>
                  <a:pt x="368741" y="220648"/>
                </a:lnTo>
                <a:cubicBezTo>
                  <a:pt x="374070" y="220648"/>
                  <a:pt x="378385" y="224967"/>
                  <a:pt x="378385" y="230297"/>
                </a:cubicBezTo>
                <a:cubicBezTo>
                  <a:pt x="378385" y="235621"/>
                  <a:pt x="374070" y="239941"/>
                  <a:pt x="368741" y="239941"/>
                </a:cubicBezTo>
                <a:lnTo>
                  <a:pt x="108792" y="239941"/>
                </a:lnTo>
                <a:cubicBezTo>
                  <a:pt x="103463" y="239941"/>
                  <a:pt x="99143" y="235621"/>
                  <a:pt x="99143" y="230297"/>
                </a:cubicBezTo>
                <a:cubicBezTo>
                  <a:pt x="99143" y="224967"/>
                  <a:pt x="103463" y="220648"/>
                  <a:pt x="108792" y="220648"/>
                </a:cubicBezTo>
                <a:close/>
                <a:moveTo>
                  <a:pt x="173779" y="175065"/>
                </a:moveTo>
                <a:lnTo>
                  <a:pt x="303754" y="175065"/>
                </a:lnTo>
                <a:cubicBezTo>
                  <a:pt x="309077" y="175065"/>
                  <a:pt x="313398" y="179379"/>
                  <a:pt x="313398" y="184709"/>
                </a:cubicBezTo>
                <a:cubicBezTo>
                  <a:pt x="313398" y="190033"/>
                  <a:pt x="309077" y="194353"/>
                  <a:pt x="303754" y="194353"/>
                </a:cubicBezTo>
                <a:lnTo>
                  <a:pt x="173779" y="194353"/>
                </a:lnTo>
                <a:cubicBezTo>
                  <a:pt x="168449" y="194353"/>
                  <a:pt x="164130" y="190033"/>
                  <a:pt x="164130" y="184709"/>
                </a:cubicBezTo>
                <a:cubicBezTo>
                  <a:pt x="164130" y="179379"/>
                  <a:pt x="168449" y="175065"/>
                  <a:pt x="173779" y="175065"/>
                </a:cubicBezTo>
                <a:close/>
                <a:moveTo>
                  <a:pt x="59783" y="122525"/>
                </a:moveTo>
                <a:lnTo>
                  <a:pt x="59783" y="598585"/>
                </a:lnTo>
                <a:lnTo>
                  <a:pt x="417743" y="598585"/>
                </a:lnTo>
                <a:lnTo>
                  <a:pt x="417743" y="554755"/>
                </a:lnTo>
                <a:lnTo>
                  <a:pt x="409902" y="546914"/>
                </a:lnTo>
                <a:cubicBezTo>
                  <a:pt x="405433" y="542439"/>
                  <a:pt x="402695" y="536225"/>
                  <a:pt x="402695" y="529525"/>
                </a:cubicBezTo>
                <a:lnTo>
                  <a:pt x="380593" y="507423"/>
                </a:lnTo>
                <a:cubicBezTo>
                  <a:pt x="357499" y="523275"/>
                  <a:pt x="330159" y="531815"/>
                  <a:pt x="301482" y="531815"/>
                </a:cubicBezTo>
                <a:cubicBezTo>
                  <a:pt x="301021" y="531815"/>
                  <a:pt x="300563" y="531799"/>
                  <a:pt x="300101" y="531794"/>
                </a:cubicBezTo>
                <a:lnTo>
                  <a:pt x="300036" y="531794"/>
                </a:lnTo>
                <a:cubicBezTo>
                  <a:pt x="275770" y="531554"/>
                  <a:pt x="252498" y="525204"/>
                  <a:pt x="231990" y="513470"/>
                </a:cubicBezTo>
                <a:lnTo>
                  <a:pt x="108792" y="513470"/>
                </a:lnTo>
                <a:cubicBezTo>
                  <a:pt x="103463" y="513470"/>
                  <a:pt x="99143" y="509151"/>
                  <a:pt x="99143" y="503826"/>
                </a:cubicBezTo>
                <a:cubicBezTo>
                  <a:pt x="99143" y="498498"/>
                  <a:pt x="103463" y="494182"/>
                  <a:pt x="108792" y="494182"/>
                </a:cubicBezTo>
                <a:lnTo>
                  <a:pt x="205880" y="494182"/>
                </a:lnTo>
                <a:cubicBezTo>
                  <a:pt x="197563" y="486403"/>
                  <a:pt x="190270" y="477808"/>
                  <a:pt x="183845" y="467882"/>
                </a:cubicBezTo>
                <a:lnTo>
                  <a:pt x="108792" y="467882"/>
                </a:lnTo>
                <a:cubicBezTo>
                  <a:pt x="103463" y="467882"/>
                  <a:pt x="99143" y="463563"/>
                  <a:pt x="99143" y="458238"/>
                </a:cubicBezTo>
                <a:cubicBezTo>
                  <a:pt x="99143" y="452910"/>
                  <a:pt x="103463" y="448594"/>
                  <a:pt x="108792" y="448594"/>
                </a:cubicBezTo>
                <a:lnTo>
                  <a:pt x="173417" y="448594"/>
                </a:lnTo>
                <a:cubicBezTo>
                  <a:pt x="169651" y="440080"/>
                  <a:pt x="166772" y="431266"/>
                  <a:pt x="164782" y="422294"/>
                </a:cubicBezTo>
                <a:lnTo>
                  <a:pt x="108792" y="422294"/>
                </a:lnTo>
                <a:cubicBezTo>
                  <a:pt x="103463" y="422294"/>
                  <a:pt x="99143" y="417975"/>
                  <a:pt x="99143" y="412650"/>
                </a:cubicBezTo>
                <a:cubicBezTo>
                  <a:pt x="99143" y="407321"/>
                  <a:pt x="103463" y="403006"/>
                  <a:pt x="108792" y="403006"/>
                </a:cubicBezTo>
                <a:lnTo>
                  <a:pt x="161894" y="403006"/>
                </a:lnTo>
                <a:cubicBezTo>
                  <a:pt x="161598" y="399264"/>
                  <a:pt x="161438" y="395512"/>
                  <a:pt x="161438" y="391765"/>
                </a:cubicBezTo>
                <a:cubicBezTo>
                  <a:pt x="161438" y="386737"/>
                  <a:pt x="161714" y="381709"/>
                  <a:pt x="162252" y="376706"/>
                </a:cubicBezTo>
                <a:lnTo>
                  <a:pt x="108792" y="376706"/>
                </a:lnTo>
                <a:cubicBezTo>
                  <a:pt x="103463" y="376706"/>
                  <a:pt x="99143" y="372387"/>
                  <a:pt x="99143" y="367062"/>
                </a:cubicBezTo>
                <a:cubicBezTo>
                  <a:pt x="99143" y="361733"/>
                  <a:pt x="103463" y="357418"/>
                  <a:pt x="108792" y="357418"/>
                </a:cubicBezTo>
                <a:lnTo>
                  <a:pt x="165688" y="357418"/>
                </a:lnTo>
                <a:cubicBezTo>
                  <a:pt x="167947" y="348417"/>
                  <a:pt x="171111" y="339606"/>
                  <a:pt x="175175" y="331118"/>
                </a:cubicBezTo>
                <a:lnTo>
                  <a:pt x="108792" y="331118"/>
                </a:lnTo>
                <a:cubicBezTo>
                  <a:pt x="103463" y="331118"/>
                  <a:pt x="99143" y="326799"/>
                  <a:pt x="99143" y="321474"/>
                </a:cubicBezTo>
                <a:cubicBezTo>
                  <a:pt x="99143" y="316144"/>
                  <a:pt x="103463" y="311830"/>
                  <a:pt x="108792" y="311830"/>
                </a:cubicBezTo>
                <a:lnTo>
                  <a:pt x="186397" y="311830"/>
                </a:lnTo>
                <a:cubicBezTo>
                  <a:pt x="193369" y="301794"/>
                  <a:pt x="201430" y="293024"/>
                  <a:pt x="210120" y="285530"/>
                </a:cubicBezTo>
                <a:lnTo>
                  <a:pt x="108792" y="285530"/>
                </a:lnTo>
                <a:cubicBezTo>
                  <a:pt x="103463" y="285530"/>
                  <a:pt x="99143" y="281209"/>
                  <a:pt x="99143" y="275886"/>
                </a:cubicBezTo>
                <a:cubicBezTo>
                  <a:pt x="99143" y="270556"/>
                  <a:pt x="103463" y="266242"/>
                  <a:pt x="108792" y="266242"/>
                </a:cubicBezTo>
                <a:lnTo>
                  <a:pt x="238766" y="266242"/>
                </a:lnTo>
                <a:cubicBezTo>
                  <a:pt x="238877" y="266242"/>
                  <a:pt x="238986" y="266252"/>
                  <a:pt x="239102" y="266257"/>
                </a:cubicBezTo>
                <a:cubicBezTo>
                  <a:pt x="258229" y="256748"/>
                  <a:pt x="279462" y="251710"/>
                  <a:pt x="301482" y="251710"/>
                </a:cubicBezTo>
                <a:cubicBezTo>
                  <a:pt x="349839" y="251710"/>
                  <a:pt x="392373" y="275941"/>
                  <a:pt x="417743" y="313522"/>
                </a:cubicBezTo>
                <a:lnTo>
                  <a:pt x="417743" y="122525"/>
                </a:lnTo>
                <a:lnTo>
                  <a:pt x="334127" y="122525"/>
                </a:lnTo>
                <a:cubicBezTo>
                  <a:pt x="332404" y="131828"/>
                  <a:pt x="324146" y="138748"/>
                  <a:pt x="314602" y="138748"/>
                </a:cubicBezTo>
                <a:lnTo>
                  <a:pt x="162924" y="138748"/>
                </a:lnTo>
                <a:cubicBezTo>
                  <a:pt x="153366" y="138748"/>
                  <a:pt x="145123" y="131823"/>
                  <a:pt x="143401" y="122525"/>
                </a:cubicBezTo>
                <a:close/>
                <a:moveTo>
                  <a:pt x="191932" y="86053"/>
                </a:moveTo>
                <a:lnTo>
                  <a:pt x="285595" y="86053"/>
                </a:lnTo>
                <a:cubicBezTo>
                  <a:pt x="290924" y="86053"/>
                  <a:pt x="295239" y="90368"/>
                  <a:pt x="295239" y="95697"/>
                </a:cubicBezTo>
                <a:cubicBezTo>
                  <a:pt x="295239" y="101021"/>
                  <a:pt x="290924" y="105341"/>
                  <a:pt x="285595" y="105341"/>
                </a:cubicBezTo>
                <a:lnTo>
                  <a:pt x="191932" y="105341"/>
                </a:lnTo>
                <a:cubicBezTo>
                  <a:pt x="186607" y="105341"/>
                  <a:pt x="182288" y="101021"/>
                  <a:pt x="182288" y="95697"/>
                </a:cubicBezTo>
                <a:cubicBezTo>
                  <a:pt x="182288" y="90368"/>
                  <a:pt x="186607" y="86053"/>
                  <a:pt x="191932" y="86053"/>
                </a:cubicBezTo>
                <a:close/>
                <a:moveTo>
                  <a:pt x="162924" y="71934"/>
                </a:moveTo>
                <a:cubicBezTo>
                  <a:pt x="162637" y="71934"/>
                  <a:pt x="162371" y="72195"/>
                  <a:pt x="162362" y="72481"/>
                </a:cubicBezTo>
                <a:cubicBezTo>
                  <a:pt x="162362" y="72551"/>
                  <a:pt x="162362" y="72617"/>
                  <a:pt x="162357" y="72687"/>
                </a:cubicBezTo>
                <a:cubicBezTo>
                  <a:pt x="162357" y="99068"/>
                  <a:pt x="162357" y="92503"/>
                  <a:pt x="162357" y="118893"/>
                </a:cubicBezTo>
                <a:cubicBezTo>
                  <a:pt x="162357" y="119069"/>
                  <a:pt x="162463" y="119230"/>
                  <a:pt x="162608" y="119335"/>
                </a:cubicBezTo>
                <a:cubicBezTo>
                  <a:pt x="162698" y="119406"/>
                  <a:pt x="162808" y="119461"/>
                  <a:pt x="162924" y="119461"/>
                </a:cubicBezTo>
                <a:lnTo>
                  <a:pt x="314602" y="119461"/>
                </a:lnTo>
                <a:cubicBezTo>
                  <a:pt x="314718" y="119461"/>
                  <a:pt x="314823" y="119411"/>
                  <a:pt x="314913" y="119340"/>
                </a:cubicBezTo>
                <a:cubicBezTo>
                  <a:pt x="315060" y="119235"/>
                  <a:pt x="315171" y="119069"/>
                  <a:pt x="315171" y="118893"/>
                </a:cubicBezTo>
                <a:lnTo>
                  <a:pt x="315171" y="72687"/>
                </a:lnTo>
                <a:cubicBezTo>
                  <a:pt x="315165" y="72617"/>
                  <a:pt x="315165" y="72551"/>
                  <a:pt x="315165" y="72481"/>
                </a:cubicBezTo>
                <a:cubicBezTo>
                  <a:pt x="315155" y="72195"/>
                  <a:pt x="314889" y="71934"/>
                  <a:pt x="314607" y="71934"/>
                </a:cubicBezTo>
                <a:close/>
                <a:moveTo>
                  <a:pt x="238766" y="19288"/>
                </a:moveTo>
                <a:cubicBezTo>
                  <a:pt x="225661" y="19288"/>
                  <a:pt x="215002" y="29952"/>
                  <a:pt x="215002" y="43052"/>
                </a:cubicBezTo>
                <a:lnTo>
                  <a:pt x="215002" y="52645"/>
                </a:lnTo>
                <a:lnTo>
                  <a:pt x="262529" y="52645"/>
                </a:lnTo>
                <a:lnTo>
                  <a:pt x="262529" y="43052"/>
                </a:lnTo>
                <a:cubicBezTo>
                  <a:pt x="262529" y="29952"/>
                  <a:pt x="251871" y="19288"/>
                  <a:pt x="238766" y="19288"/>
                </a:cubicBezTo>
                <a:close/>
                <a:moveTo>
                  <a:pt x="238766" y="0"/>
                </a:moveTo>
                <a:cubicBezTo>
                  <a:pt x="262505" y="0"/>
                  <a:pt x="281817" y="19313"/>
                  <a:pt x="281817" y="43052"/>
                </a:cubicBezTo>
                <a:lnTo>
                  <a:pt x="281817" y="52640"/>
                </a:lnTo>
                <a:lnTo>
                  <a:pt x="314607" y="52640"/>
                </a:lnTo>
                <a:cubicBezTo>
                  <a:pt x="322006" y="52640"/>
                  <a:pt x="328461" y="56719"/>
                  <a:pt x="331877" y="62742"/>
                </a:cubicBezTo>
                <a:lnTo>
                  <a:pt x="431437" y="62742"/>
                </a:lnTo>
                <a:cubicBezTo>
                  <a:pt x="456852" y="62742"/>
                  <a:pt x="477526" y="83416"/>
                  <a:pt x="477526" y="108827"/>
                </a:cubicBezTo>
                <a:lnTo>
                  <a:pt x="477526" y="339285"/>
                </a:lnTo>
                <a:cubicBezTo>
                  <a:pt x="477526" y="344614"/>
                  <a:pt x="473207" y="348934"/>
                  <a:pt x="467882" y="348934"/>
                </a:cubicBezTo>
                <a:cubicBezTo>
                  <a:pt x="462554" y="348934"/>
                  <a:pt x="458238" y="344614"/>
                  <a:pt x="458238" y="339285"/>
                </a:cubicBezTo>
                <a:lnTo>
                  <a:pt x="458238" y="108827"/>
                </a:lnTo>
                <a:cubicBezTo>
                  <a:pt x="458238" y="94050"/>
                  <a:pt x="446214" y="82030"/>
                  <a:pt x="431437" y="82030"/>
                </a:cubicBezTo>
                <a:lnTo>
                  <a:pt x="334459" y="82030"/>
                </a:lnTo>
                <a:lnTo>
                  <a:pt x="334459" y="103232"/>
                </a:lnTo>
                <a:lnTo>
                  <a:pt x="424143" y="103232"/>
                </a:lnTo>
                <a:cubicBezTo>
                  <a:pt x="431250" y="103232"/>
                  <a:pt x="437032" y="109013"/>
                  <a:pt x="437032" y="116121"/>
                </a:cubicBezTo>
                <a:lnTo>
                  <a:pt x="437032" y="356303"/>
                </a:lnTo>
                <a:cubicBezTo>
                  <a:pt x="439996" y="367735"/>
                  <a:pt x="441527" y="379629"/>
                  <a:pt x="441527" y="391760"/>
                </a:cubicBezTo>
                <a:cubicBezTo>
                  <a:pt x="441527" y="403896"/>
                  <a:pt x="439996" y="415785"/>
                  <a:pt x="437032" y="427222"/>
                </a:cubicBezTo>
                <a:lnTo>
                  <a:pt x="437032" y="490767"/>
                </a:lnTo>
                <a:lnTo>
                  <a:pt x="439242" y="492977"/>
                </a:lnTo>
                <a:cubicBezTo>
                  <a:pt x="445812" y="492983"/>
                  <a:pt x="451985" y="495539"/>
                  <a:pt x="456631" y="500185"/>
                </a:cubicBezTo>
                <a:lnTo>
                  <a:pt x="458233" y="501792"/>
                </a:lnTo>
                <a:lnTo>
                  <a:pt x="458233" y="384295"/>
                </a:lnTo>
                <a:cubicBezTo>
                  <a:pt x="458233" y="378972"/>
                  <a:pt x="462554" y="374651"/>
                  <a:pt x="467882" y="374651"/>
                </a:cubicBezTo>
                <a:cubicBezTo>
                  <a:pt x="473207" y="374651"/>
                  <a:pt x="477526" y="378972"/>
                  <a:pt x="477526" y="384295"/>
                </a:cubicBezTo>
                <a:lnTo>
                  <a:pt x="477526" y="521080"/>
                </a:lnTo>
                <a:lnTo>
                  <a:pt x="548732" y="592286"/>
                </a:lnTo>
                <a:cubicBezTo>
                  <a:pt x="558321" y="601880"/>
                  <a:pt x="558326" y="617491"/>
                  <a:pt x="548732" y="627085"/>
                </a:cubicBezTo>
                <a:lnTo>
                  <a:pt x="536803" y="639009"/>
                </a:lnTo>
                <a:cubicBezTo>
                  <a:pt x="527209" y="648608"/>
                  <a:pt x="511597" y="648603"/>
                  <a:pt x="502003" y="639014"/>
                </a:cubicBezTo>
                <a:lnTo>
                  <a:pt x="477471" y="614477"/>
                </a:lnTo>
                <a:cubicBezTo>
                  <a:pt x="476316" y="638874"/>
                  <a:pt x="456109" y="658368"/>
                  <a:pt x="431437" y="658368"/>
                </a:cubicBezTo>
                <a:lnTo>
                  <a:pt x="261269" y="658368"/>
                </a:lnTo>
                <a:cubicBezTo>
                  <a:pt x="255939" y="658368"/>
                  <a:pt x="251625" y="654049"/>
                  <a:pt x="251625" y="648724"/>
                </a:cubicBezTo>
                <a:cubicBezTo>
                  <a:pt x="251625" y="643394"/>
                  <a:pt x="255939" y="639080"/>
                  <a:pt x="261269" y="639080"/>
                </a:cubicBezTo>
                <a:lnTo>
                  <a:pt x="431437" y="639080"/>
                </a:lnTo>
                <a:cubicBezTo>
                  <a:pt x="446214" y="639080"/>
                  <a:pt x="458233" y="627054"/>
                  <a:pt x="458233" y="612277"/>
                </a:cubicBezTo>
                <a:lnTo>
                  <a:pt x="458233" y="595244"/>
                </a:lnTo>
                <a:lnTo>
                  <a:pt x="437032" y="574043"/>
                </a:lnTo>
                <a:lnTo>
                  <a:pt x="437032" y="604984"/>
                </a:lnTo>
                <a:cubicBezTo>
                  <a:pt x="437032" y="612092"/>
                  <a:pt x="431250" y="617873"/>
                  <a:pt x="424143" y="617873"/>
                </a:cubicBezTo>
                <a:lnTo>
                  <a:pt x="53384" y="617873"/>
                </a:lnTo>
                <a:cubicBezTo>
                  <a:pt x="46276" y="617873"/>
                  <a:pt x="40495" y="612092"/>
                  <a:pt x="40495" y="604984"/>
                </a:cubicBezTo>
                <a:lnTo>
                  <a:pt x="40495" y="116121"/>
                </a:lnTo>
                <a:cubicBezTo>
                  <a:pt x="40495" y="109013"/>
                  <a:pt x="46276" y="103232"/>
                  <a:pt x="53384" y="103232"/>
                </a:cubicBezTo>
                <a:lnTo>
                  <a:pt x="143069" y="103232"/>
                </a:lnTo>
                <a:lnTo>
                  <a:pt x="143069" y="82030"/>
                </a:lnTo>
                <a:lnTo>
                  <a:pt x="46091" y="82030"/>
                </a:lnTo>
                <a:cubicBezTo>
                  <a:pt x="31313" y="82030"/>
                  <a:pt x="19288" y="94050"/>
                  <a:pt x="19288" y="108827"/>
                </a:cubicBezTo>
                <a:lnTo>
                  <a:pt x="19288" y="612277"/>
                </a:lnTo>
                <a:cubicBezTo>
                  <a:pt x="19288" y="627060"/>
                  <a:pt x="31313" y="639080"/>
                  <a:pt x="46091" y="639080"/>
                </a:cubicBezTo>
                <a:lnTo>
                  <a:pt x="216258" y="639080"/>
                </a:lnTo>
                <a:cubicBezTo>
                  <a:pt x="221587" y="639080"/>
                  <a:pt x="225902" y="643399"/>
                  <a:pt x="225902" y="648724"/>
                </a:cubicBezTo>
                <a:cubicBezTo>
                  <a:pt x="225902" y="654054"/>
                  <a:pt x="221587" y="658368"/>
                  <a:pt x="216258" y="658368"/>
                </a:cubicBezTo>
                <a:lnTo>
                  <a:pt x="46091" y="658368"/>
                </a:lnTo>
                <a:cubicBezTo>
                  <a:pt x="20674" y="658368"/>
                  <a:pt x="0" y="637694"/>
                  <a:pt x="0" y="612277"/>
                </a:cubicBezTo>
                <a:lnTo>
                  <a:pt x="0" y="108832"/>
                </a:lnTo>
                <a:cubicBezTo>
                  <a:pt x="0" y="83416"/>
                  <a:pt x="20674" y="62742"/>
                  <a:pt x="46091" y="62742"/>
                </a:cubicBezTo>
                <a:lnTo>
                  <a:pt x="145651" y="62742"/>
                </a:lnTo>
                <a:cubicBezTo>
                  <a:pt x="149066" y="56719"/>
                  <a:pt x="155520" y="52645"/>
                  <a:pt x="162924" y="52645"/>
                </a:cubicBezTo>
                <a:lnTo>
                  <a:pt x="195709" y="52645"/>
                </a:lnTo>
                <a:lnTo>
                  <a:pt x="195709" y="43052"/>
                </a:lnTo>
                <a:cubicBezTo>
                  <a:pt x="195709" y="19313"/>
                  <a:pt x="215023" y="0"/>
                  <a:pt x="238766" y="0"/>
                </a:cubicBezTo>
                <a:close/>
              </a:path>
            </a:pathLst>
          </a:custGeom>
          <a:solidFill>
            <a:schemeClr val="accent3"/>
          </a:solidFill>
          <a:ln w="128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F97AB5F3-9516-CE15-DBD2-F6BE05DEB6C3}"/>
              </a:ext>
            </a:extLst>
          </p:cNvPr>
          <p:cNvSpPr>
            <a:spLocks noChangeAspect="1"/>
          </p:cNvSpPr>
          <p:nvPr/>
        </p:nvSpPr>
        <p:spPr>
          <a:xfrm>
            <a:off x="6323076" y="1279314"/>
            <a:ext cx="402336" cy="402336"/>
          </a:xfrm>
          <a:custGeom>
            <a:avLst/>
            <a:gdLst>
              <a:gd name="connsiteX0" fmla="*/ 3848270 w 3906668"/>
              <a:gd name="connsiteY0" fmla="*/ 1855371 h 3906668"/>
              <a:gd name="connsiteX1" fmla="*/ 3906668 w 3906668"/>
              <a:gd name="connsiteY1" fmla="*/ 1876782 h 3906668"/>
              <a:gd name="connsiteX2" fmla="*/ 3906668 w 3906668"/>
              <a:gd name="connsiteY2" fmla="*/ 2029889 h 3906668"/>
              <a:gd name="connsiteX3" fmla="*/ 3790958 w 3906668"/>
              <a:gd name="connsiteY3" fmla="*/ 2029889 h 3906668"/>
              <a:gd name="connsiteX4" fmla="*/ 3791659 w 3906668"/>
              <a:gd name="connsiteY4" fmla="*/ 1880394 h 3906668"/>
              <a:gd name="connsiteX5" fmla="*/ 3848270 w 3906668"/>
              <a:gd name="connsiteY5" fmla="*/ 1855371 h 3906668"/>
              <a:gd name="connsiteX6" fmla="*/ 3612065 w 3906668"/>
              <a:gd name="connsiteY6" fmla="*/ 1847314 h 3906668"/>
              <a:gd name="connsiteX7" fmla="*/ 3666266 w 3906668"/>
              <a:gd name="connsiteY7" fmla="*/ 1876782 h 3906668"/>
              <a:gd name="connsiteX8" fmla="*/ 3666266 w 3906668"/>
              <a:gd name="connsiteY8" fmla="*/ 2029889 h 3906668"/>
              <a:gd name="connsiteX9" fmla="*/ 3556077 w 3906668"/>
              <a:gd name="connsiteY9" fmla="*/ 2029889 h 3906668"/>
              <a:gd name="connsiteX10" fmla="*/ 3556077 w 3906668"/>
              <a:gd name="connsiteY10" fmla="*/ 1876782 h 3906668"/>
              <a:gd name="connsiteX11" fmla="*/ 3612065 w 3906668"/>
              <a:gd name="connsiteY11" fmla="*/ 1847314 h 3906668"/>
              <a:gd name="connsiteX12" fmla="*/ 2879253 w 3906668"/>
              <a:gd name="connsiteY12" fmla="*/ 1216166 h 3906668"/>
              <a:gd name="connsiteX13" fmla="*/ 2737805 w 3906668"/>
              <a:gd name="connsiteY13" fmla="*/ 1259702 h 3906668"/>
              <a:gd name="connsiteX14" fmla="*/ 1601752 w 3906668"/>
              <a:gd name="connsiteY14" fmla="*/ 2199959 h 3906668"/>
              <a:gd name="connsiteX15" fmla="*/ 1482493 w 3906668"/>
              <a:gd name="connsiteY15" fmla="*/ 2185934 h 3906668"/>
              <a:gd name="connsiteX16" fmla="*/ 1208983 w 3906668"/>
              <a:gd name="connsiteY16" fmla="*/ 1821948 h 3906668"/>
              <a:gd name="connsiteX17" fmla="*/ 862785 w 3906668"/>
              <a:gd name="connsiteY17" fmla="*/ 1910468 h 3906668"/>
              <a:gd name="connsiteX18" fmla="*/ 899521 w 3906668"/>
              <a:gd name="connsiteY18" fmla="*/ 2053600 h 3906668"/>
              <a:gd name="connsiteX19" fmla="*/ 1304620 w 3906668"/>
              <a:gd name="connsiteY19" fmla="*/ 2592699 h 3906668"/>
              <a:gd name="connsiteX20" fmla="*/ 1679882 w 3906668"/>
              <a:gd name="connsiteY20" fmla="*/ 2636855 h 3906668"/>
              <a:gd name="connsiteX21" fmla="*/ 2984744 w 3906668"/>
              <a:gd name="connsiteY21" fmla="*/ 1556893 h 3906668"/>
              <a:gd name="connsiteX22" fmla="*/ 3010188 w 3906668"/>
              <a:gd name="connsiteY22" fmla="*/ 1285052 h 3906668"/>
              <a:gd name="connsiteX23" fmla="*/ 2879253 w 3906668"/>
              <a:gd name="connsiteY23" fmla="*/ 1216166 h 3906668"/>
              <a:gd name="connsiteX24" fmla="*/ 2894673 w 3906668"/>
              <a:gd name="connsiteY24" fmla="*/ 1051513 h 3906668"/>
              <a:gd name="connsiteX25" fmla="*/ 3137826 w 3906668"/>
              <a:gd name="connsiteY25" fmla="*/ 1179444 h 3906668"/>
              <a:gd name="connsiteX26" fmla="*/ 3090559 w 3906668"/>
              <a:gd name="connsiteY26" fmla="*/ 1684281 h 3906668"/>
              <a:gd name="connsiteX27" fmla="*/ 1785696 w 3906668"/>
              <a:gd name="connsiteY27" fmla="*/ 2764232 h 3906668"/>
              <a:gd name="connsiteX28" fmla="*/ 1171993 w 3906668"/>
              <a:gd name="connsiteY28" fmla="*/ 2691983 h 3906668"/>
              <a:gd name="connsiteX29" fmla="*/ 766894 w 3906668"/>
              <a:gd name="connsiteY29" fmla="*/ 2152884 h 3906668"/>
              <a:gd name="connsiteX30" fmla="*/ 698632 w 3906668"/>
              <a:gd name="connsiteY30" fmla="*/ 1887058 h 3906668"/>
              <a:gd name="connsiteX31" fmla="*/ 1341620 w 3906668"/>
              <a:gd name="connsiteY31" fmla="*/ 1722664 h 3906668"/>
              <a:gd name="connsiteX32" fmla="*/ 1562908 w 3906668"/>
              <a:gd name="connsiteY32" fmla="*/ 2017111 h 3906668"/>
              <a:gd name="connsiteX33" fmla="*/ 2631990 w 3906668"/>
              <a:gd name="connsiteY33" fmla="*/ 1132314 h 3906668"/>
              <a:gd name="connsiteX34" fmla="*/ 2894673 w 3906668"/>
              <a:gd name="connsiteY34" fmla="*/ 1051513 h 3906668"/>
              <a:gd name="connsiteX35" fmla="*/ 459211 w 3906668"/>
              <a:gd name="connsiteY35" fmla="*/ 240401 h 3906668"/>
              <a:gd name="connsiteX36" fmla="*/ 3447456 w 3906668"/>
              <a:gd name="connsiteY36" fmla="*/ 240401 h 3906668"/>
              <a:gd name="connsiteX37" fmla="*/ 3666266 w 3906668"/>
              <a:gd name="connsiteY37" fmla="*/ 459211 h 3906668"/>
              <a:gd name="connsiteX38" fmla="*/ 3666266 w 3906668"/>
              <a:gd name="connsiteY38" fmla="*/ 1647829 h 3906668"/>
              <a:gd name="connsiteX39" fmla="*/ 3556077 w 3906668"/>
              <a:gd name="connsiteY39" fmla="*/ 1647829 h 3906668"/>
              <a:gd name="connsiteX40" fmla="*/ 3556077 w 3906668"/>
              <a:gd name="connsiteY40" fmla="*/ 533037 h 3906668"/>
              <a:gd name="connsiteX41" fmla="*/ 3371313 w 3906668"/>
              <a:gd name="connsiteY41" fmla="*/ 348273 h 3906668"/>
              <a:gd name="connsiteX42" fmla="*/ 535354 w 3906668"/>
              <a:gd name="connsiteY42" fmla="*/ 348273 h 3906668"/>
              <a:gd name="connsiteX43" fmla="*/ 350590 w 3906668"/>
              <a:gd name="connsiteY43" fmla="*/ 533037 h 3906668"/>
              <a:gd name="connsiteX44" fmla="*/ 350590 w 3906668"/>
              <a:gd name="connsiteY44" fmla="*/ 3373628 h 3906668"/>
              <a:gd name="connsiteX45" fmla="*/ 535354 w 3906668"/>
              <a:gd name="connsiteY45" fmla="*/ 3558392 h 3906668"/>
              <a:gd name="connsiteX46" fmla="*/ 3371313 w 3906668"/>
              <a:gd name="connsiteY46" fmla="*/ 3558392 h 3906668"/>
              <a:gd name="connsiteX47" fmla="*/ 3556077 w 3906668"/>
              <a:gd name="connsiteY47" fmla="*/ 3373628 h 3906668"/>
              <a:gd name="connsiteX48" fmla="*/ 3556077 w 3906668"/>
              <a:gd name="connsiteY48" fmla="*/ 2258842 h 3906668"/>
              <a:gd name="connsiteX49" fmla="*/ 3666266 w 3906668"/>
              <a:gd name="connsiteY49" fmla="*/ 2258842 h 3906668"/>
              <a:gd name="connsiteX50" fmla="*/ 3666266 w 3906668"/>
              <a:gd name="connsiteY50" fmla="*/ 3447456 h 3906668"/>
              <a:gd name="connsiteX51" fmla="*/ 3447456 w 3906668"/>
              <a:gd name="connsiteY51" fmla="*/ 3666266 h 3906668"/>
              <a:gd name="connsiteX52" fmla="*/ 459211 w 3906668"/>
              <a:gd name="connsiteY52" fmla="*/ 3666266 h 3906668"/>
              <a:gd name="connsiteX53" fmla="*/ 240401 w 3906668"/>
              <a:gd name="connsiteY53" fmla="*/ 3447456 h 3906668"/>
              <a:gd name="connsiteX54" fmla="*/ 240401 w 3906668"/>
              <a:gd name="connsiteY54" fmla="*/ 459211 h 3906668"/>
              <a:gd name="connsiteX55" fmla="*/ 459211 w 3906668"/>
              <a:gd name="connsiteY55" fmla="*/ 240401 h 3906668"/>
              <a:gd name="connsiteX56" fmla="*/ 344685 w 3906668"/>
              <a:gd name="connsiteY56" fmla="*/ 0 h 3906668"/>
              <a:gd name="connsiteX57" fmla="*/ 3561983 w 3906668"/>
              <a:gd name="connsiteY57" fmla="*/ 0 h 3906668"/>
              <a:gd name="connsiteX58" fmla="*/ 3906668 w 3906668"/>
              <a:gd name="connsiteY58" fmla="*/ 344685 h 3906668"/>
              <a:gd name="connsiteX59" fmla="*/ 3906668 w 3906668"/>
              <a:gd name="connsiteY59" fmla="*/ 1647828 h 3906668"/>
              <a:gd name="connsiteX60" fmla="*/ 3790958 w 3906668"/>
              <a:gd name="connsiteY60" fmla="*/ 1647828 h 3906668"/>
              <a:gd name="connsiteX61" fmla="*/ 3790958 w 3906668"/>
              <a:gd name="connsiteY61" fmla="*/ 365847 h 3906668"/>
              <a:gd name="connsiteX62" fmla="*/ 3540821 w 3906668"/>
              <a:gd name="connsiteY62" fmla="*/ 115710 h 3906668"/>
              <a:gd name="connsiteX63" fmla="*/ 365847 w 3906668"/>
              <a:gd name="connsiteY63" fmla="*/ 115710 h 3906668"/>
              <a:gd name="connsiteX64" fmla="*/ 115710 w 3906668"/>
              <a:gd name="connsiteY64" fmla="*/ 365847 h 3906668"/>
              <a:gd name="connsiteX65" fmla="*/ 115710 w 3906668"/>
              <a:gd name="connsiteY65" fmla="*/ 3540821 h 3906668"/>
              <a:gd name="connsiteX66" fmla="*/ 365847 w 3906668"/>
              <a:gd name="connsiteY66" fmla="*/ 3790958 h 3906668"/>
              <a:gd name="connsiteX67" fmla="*/ 3540821 w 3906668"/>
              <a:gd name="connsiteY67" fmla="*/ 3790958 h 3906668"/>
              <a:gd name="connsiteX68" fmla="*/ 3790958 w 3906668"/>
              <a:gd name="connsiteY68" fmla="*/ 3540821 h 3906668"/>
              <a:gd name="connsiteX69" fmla="*/ 3790958 w 3906668"/>
              <a:gd name="connsiteY69" fmla="*/ 2258841 h 3906668"/>
              <a:gd name="connsiteX70" fmla="*/ 3906668 w 3906668"/>
              <a:gd name="connsiteY70" fmla="*/ 2258841 h 3906668"/>
              <a:gd name="connsiteX71" fmla="*/ 3906668 w 3906668"/>
              <a:gd name="connsiteY71" fmla="*/ 3561983 h 3906668"/>
              <a:gd name="connsiteX72" fmla="*/ 3561983 w 3906668"/>
              <a:gd name="connsiteY72" fmla="*/ 3906668 h 3906668"/>
              <a:gd name="connsiteX73" fmla="*/ 344685 w 3906668"/>
              <a:gd name="connsiteY73" fmla="*/ 3906668 h 3906668"/>
              <a:gd name="connsiteX74" fmla="*/ 0 w 3906668"/>
              <a:gd name="connsiteY74" fmla="*/ 3561983 h 3906668"/>
              <a:gd name="connsiteX75" fmla="*/ 0 w 3906668"/>
              <a:gd name="connsiteY75" fmla="*/ 344685 h 3906668"/>
              <a:gd name="connsiteX76" fmla="*/ 344685 w 3906668"/>
              <a:gd name="connsiteY76" fmla="*/ 0 h 3906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3906668" h="3906668">
                <a:moveTo>
                  <a:pt x="3848270" y="1855371"/>
                </a:moveTo>
                <a:cubicBezTo>
                  <a:pt x="3873094" y="1855960"/>
                  <a:pt x="3898216" y="1864288"/>
                  <a:pt x="3906668" y="1876782"/>
                </a:cubicBezTo>
                <a:lnTo>
                  <a:pt x="3906668" y="2029889"/>
                </a:lnTo>
                <a:cubicBezTo>
                  <a:pt x="3880798" y="2055289"/>
                  <a:pt x="3823178" y="2064814"/>
                  <a:pt x="3790958" y="2029889"/>
                </a:cubicBezTo>
                <a:cubicBezTo>
                  <a:pt x="3791192" y="1980057"/>
                  <a:pt x="3791425" y="1930226"/>
                  <a:pt x="3791659" y="1880394"/>
                </a:cubicBezTo>
                <a:cubicBezTo>
                  <a:pt x="3798920" y="1861933"/>
                  <a:pt x="3823446" y="1854782"/>
                  <a:pt x="3848270" y="1855371"/>
                </a:cubicBezTo>
                <a:close/>
                <a:moveTo>
                  <a:pt x="3612065" y="1847314"/>
                </a:moveTo>
                <a:cubicBezTo>
                  <a:pt x="3636085" y="1847016"/>
                  <a:pt x="3659808" y="1856541"/>
                  <a:pt x="3666266" y="1876782"/>
                </a:cubicBezTo>
                <a:lnTo>
                  <a:pt x="3666266" y="2029889"/>
                </a:lnTo>
                <a:cubicBezTo>
                  <a:pt x="3653349" y="2056083"/>
                  <a:pt x="3590426" y="2070370"/>
                  <a:pt x="3556077" y="2029889"/>
                </a:cubicBezTo>
                <a:lnTo>
                  <a:pt x="3556077" y="1876782"/>
                </a:lnTo>
                <a:cubicBezTo>
                  <a:pt x="3563726" y="1857732"/>
                  <a:pt x="3588045" y="1847612"/>
                  <a:pt x="3612065" y="1847314"/>
                </a:cubicBezTo>
                <a:close/>
                <a:moveTo>
                  <a:pt x="2879253" y="1216166"/>
                </a:moveTo>
                <a:cubicBezTo>
                  <a:pt x="2829931" y="1211577"/>
                  <a:pt x="2778856" y="1225726"/>
                  <a:pt x="2737805" y="1259702"/>
                </a:cubicBezTo>
                <a:lnTo>
                  <a:pt x="1601752" y="2199959"/>
                </a:lnTo>
                <a:cubicBezTo>
                  <a:pt x="1565060" y="2230343"/>
                  <a:pt x="1510729" y="2223501"/>
                  <a:pt x="1482493" y="2185934"/>
                </a:cubicBezTo>
                <a:lnTo>
                  <a:pt x="1208983" y="1821948"/>
                </a:lnTo>
                <a:cubicBezTo>
                  <a:pt x="1106061" y="1685008"/>
                  <a:pt x="887147" y="1740092"/>
                  <a:pt x="862785" y="1910468"/>
                </a:cubicBezTo>
                <a:cubicBezTo>
                  <a:pt x="855455" y="1961510"/>
                  <a:pt x="868525" y="2012330"/>
                  <a:pt x="899521" y="2053600"/>
                </a:cubicBezTo>
                <a:lnTo>
                  <a:pt x="1304620" y="2592699"/>
                </a:lnTo>
                <a:cubicBezTo>
                  <a:pt x="1393964" y="2711560"/>
                  <a:pt x="1565358" y="2731611"/>
                  <a:pt x="1679882" y="2636855"/>
                </a:cubicBezTo>
                <a:lnTo>
                  <a:pt x="2984744" y="1556893"/>
                </a:lnTo>
                <a:cubicBezTo>
                  <a:pt x="3067058" y="1488775"/>
                  <a:pt x="3078406" y="1367160"/>
                  <a:pt x="3010188" y="1285052"/>
                </a:cubicBezTo>
                <a:cubicBezTo>
                  <a:pt x="2976146" y="1244080"/>
                  <a:pt x="2928576" y="1220754"/>
                  <a:pt x="2879253" y="1216166"/>
                </a:cubicBezTo>
                <a:close/>
                <a:moveTo>
                  <a:pt x="2894673" y="1051513"/>
                </a:moveTo>
                <a:cubicBezTo>
                  <a:pt x="2986268" y="1060051"/>
                  <a:pt x="3074609" y="1103378"/>
                  <a:pt x="3137826" y="1179444"/>
                </a:cubicBezTo>
                <a:cubicBezTo>
                  <a:pt x="3264546" y="1331995"/>
                  <a:pt x="3243419" y="1557796"/>
                  <a:pt x="3090559" y="1684281"/>
                </a:cubicBezTo>
                <a:lnTo>
                  <a:pt x="1785696" y="2764232"/>
                </a:lnTo>
                <a:cubicBezTo>
                  <a:pt x="1597998" y="2919591"/>
                  <a:pt x="1317943" y="2886199"/>
                  <a:pt x="1171993" y="2691983"/>
                </a:cubicBezTo>
                <a:lnTo>
                  <a:pt x="766894" y="2152884"/>
                </a:lnTo>
                <a:cubicBezTo>
                  <a:pt x="709329" y="2076239"/>
                  <a:pt x="685044" y="1981869"/>
                  <a:pt x="698632" y="1887058"/>
                </a:cubicBezTo>
                <a:cubicBezTo>
                  <a:pt x="743648" y="1573033"/>
                  <a:pt x="1149651" y="1467171"/>
                  <a:pt x="1341620" y="1722664"/>
                </a:cubicBezTo>
                <a:lnTo>
                  <a:pt x="1562908" y="2017111"/>
                </a:lnTo>
                <a:lnTo>
                  <a:pt x="2631990" y="1132314"/>
                </a:lnTo>
                <a:cubicBezTo>
                  <a:pt x="2708227" y="1069226"/>
                  <a:pt x="2803077" y="1042975"/>
                  <a:pt x="2894673" y="1051513"/>
                </a:cubicBezTo>
                <a:close/>
                <a:moveTo>
                  <a:pt x="459211" y="240401"/>
                </a:moveTo>
                <a:lnTo>
                  <a:pt x="3447456" y="240401"/>
                </a:lnTo>
                <a:cubicBezTo>
                  <a:pt x="3568301" y="240401"/>
                  <a:pt x="3666266" y="338366"/>
                  <a:pt x="3666266" y="459211"/>
                </a:cubicBezTo>
                <a:lnTo>
                  <a:pt x="3666266" y="1647829"/>
                </a:lnTo>
                <a:cubicBezTo>
                  <a:pt x="3641442" y="1676404"/>
                  <a:pt x="3590426" y="1678786"/>
                  <a:pt x="3556077" y="1647829"/>
                </a:cubicBezTo>
                <a:lnTo>
                  <a:pt x="3556077" y="533037"/>
                </a:lnTo>
                <a:cubicBezTo>
                  <a:pt x="3556077" y="430995"/>
                  <a:pt x="3473355" y="348273"/>
                  <a:pt x="3371313" y="348273"/>
                </a:cubicBezTo>
                <a:lnTo>
                  <a:pt x="535354" y="348273"/>
                </a:lnTo>
                <a:cubicBezTo>
                  <a:pt x="433312" y="348273"/>
                  <a:pt x="350590" y="430995"/>
                  <a:pt x="350590" y="533037"/>
                </a:cubicBezTo>
                <a:lnTo>
                  <a:pt x="350590" y="3373628"/>
                </a:lnTo>
                <a:cubicBezTo>
                  <a:pt x="350590" y="3475670"/>
                  <a:pt x="433312" y="3558392"/>
                  <a:pt x="535354" y="3558392"/>
                </a:cubicBezTo>
                <a:lnTo>
                  <a:pt x="3371313" y="3558392"/>
                </a:lnTo>
                <a:cubicBezTo>
                  <a:pt x="3473355" y="3558392"/>
                  <a:pt x="3556077" y="3475670"/>
                  <a:pt x="3556077" y="3373628"/>
                </a:cubicBezTo>
                <a:lnTo>
                  <a:pt x="3556077" y="2258842"/>
                </a:lnTo>
                <a:cubicBezTo>
                  <a:pt x="3561851" y="2213598"/>
                  <a:pt x="3662873" y="2208837"/>
                  <a:pt x="3666266" y="2258842"/>
                </a:cubicBezTo>
                <a:lnTo>
                  <a:pt x="3666266" y="3447456"/>
                </a:lnTo>
                <a:cubicBezTo>
                  <a:pt x="3666266" y="3568301"/>
                  <a:pt x="3568301" y="3666266"/>
                  <a:pt x="3447456" y="3666266"/>
                </a:cubicBezTo>
                <a:lnTo>
                  <a:pt x="459211" y="3666266"/>
                </a:lnTo>
                <a:cubicBezTo>
                  <a:pt x="338366" y="3666266"/>
                  <a:pt x="240401" y="3568301"/>
                  <a:pt x="240401" y="3447456"/>
                </a:cubicBezTo>
                <a:lnTo>
                  <a:pt x="240401" y="459211"/>
                </a:lnTo>
                <a:cubicBezTo>
                  <a:pt x="240401" y="338366"/>
                  <a:pt x="338366" y="240401"/>
                  <a:pt x="459211" y="240401"/>
                </a:cubicBezTo>
                <a:close/>
                <a:moveTo>
                  <a:pt x="344685" y="0"/>
                </a:moveTo>
                <a:lnTo>
                  <a:pt x="3561983" y="0"/>
                </a:lnTo>
                <a:cubicBezTo>
                  <a:pt x="3752347" y="0"/>
                  <a:pt x="3906668" y="154321"/>
                  <a:pt x="3906668" y="344685"/>
                </a:cubicBezTo>
                <a:lnTo>
                  <a:pt x="3906668" y="1647828"/>
                </a:lnTo>
                <a:cubicBezTo>
                  <a:pt x="3877623" y="1678784"/>
                  <a:pt x="3812860" y="1678784"/>
                  <a:pt x="3790958" y="1647828"/>
                </a:cubicBezTo>
                <a:lnTo>
                  <a:pt x="3790958" y="365847"/>
                </a:lnTo>
                <a:cubicBezTo>
                  <a:pt x="3790958" y="227700"/>
                  <a:pt x="3678968" y="115710"/>
                  <a:pt x="3540821" y="115710"/>
                </a:cubicBezTo>
                <a:lnTo>
                  <a:pt x="365847" y="115710"/>
                </a:lnTo>
                <a:cubicBezTo>
                  <a:pt x="227700" y="115710"/>
                  <a:pt x="115710" y="227700"/>
                  <a:pt x="115710" y="365847"/>
                </a:cubicBezTo>
                <a:lnTo>
                  <a:pt x="115710" y="3540821"/>
                </a:lnTo>
                <a:cubicBezTo>
                  <a:pt x="115710" y="3678968"/>
                  <a:pt x="227700" y="3790958"/>
                  <a:pt x="365847" y="3790958"/>
                </a:cubicBezTo>
                <a:lnTo>
                  <a:pt x="3540821" y="3790958"/>
                </a:lnTo>
                <a:cubicBezTo>
                  <a:pt x="3678968" y="3790958"/>
                  <a:pt x="3790958" y="3678968"/>
                  <a:pt x="3790958" y="3540821"/>
                </a:cubicBezTo>
                <a:lnTo>
                  <a:pt x="3790958" y="2258841"/>
                </a:lnTo>
                <a:cubicBezTo>
                  <a:pt x="3803335" y="2213597"/>
                  <a:pt x="3901436" y="2220742"/>
                  <a:pt x="3906668" y="2258841"/>
                </a:cubicBezTo>
                <a:lnTo>
                  <a:pt x="3906668" y="3561983"/>
                </a:lnTo>
                <a:cubicBezTo>
                  <a:pt x="3906668" y="3752347"/>
                  <a:pt x="3752347" y="3906668"/>
                  <a:pt x="3561983" y="3906668"/>
                </a:cubicBezTo>
                <a:lnTo>
                  <a:pt x="344685" y="3906668"/>
                </a:lnTo>
                <a:cubicBezTo>
                  <a:pt x="154321" y="3906668"/>
                  <a:pt x="0" y="3752347"/>
                  <a:pt x="0" y="3561983"/>
                </a:cubicBezTo>
                <a:lnTo>
                  <a:pt x="0" y="344685"/>
                </a:lnTo>
                <a:cubicBezTo>
                  <a:pt x="0" y="154321"/>
                  <a:pt x="154321" y="0"/>
                  <a:pt x="344685" y="0"/>
                </a:cubicBezTo>
                <a:close/>
              </a:path>
            </a:pathLst>
          </a:custGeom>
          <a:solidFill>
            <a:schemeClr val="accent3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i="1">
              <a:solidFill>
                <a:schemeClr val="bg1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09130CA-C977-C72E-5356-284DE9EFC434}"/>
              </a:ext>
            </a:extLst>
          </p:cNvPr>
          <p:cNvCxnSpPr>
            <a:cxnSpLocks/>
          </p:cNvCxnSpPr>
          <p:nvPr/>
        </p:nvCxnSpPr>
        <p:spPr>
          <a:xfrm>
            <a:off x="609600" y="1728785"/>
            <a:ext cx="4633121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F0387CB-783D-A771-3144-C7E01D7E96EE}"/>
              </a:ext>
            </a:extLst>
          </p:cNvPr>
          <p:cNvCxnSpPr>
            <a:cxnSpLocks/>
          </p:cNvCxnSpPr>
          <p:nvPr/>
        </p:nvCxnSpPr>
        <p:spPr>
          <a:xfrm flipV="1">
            <a:off x="5495925" y="1728785"/>
            <a:ext cx="6107546" cy="865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988640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icon&#10;&#10;Description automatically generated">
            <a:extLst>
              <a:ext uri="{FF2B5EF4-FFF2-40B4-BE49-F238E27FC236}">
                <a16:creationId xmlns:a16="http://schemas.microsoft.com/office/drawing/2014/main" id="{56442C42-78D0-70B7-0785-8C813DD4BA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55192" y="3036726"/>
            <a:ext cx="3140288" cy="312341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6FB9121-93A0-6182-D2D1-09BFFE0715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ackground and Business Need</a:t>
            </a:r>
            <a:br>
              <a:rPr lang="en-US"/>
            </a:br>
            <a:r>
              <a:rPr lang="en-US" b="0"/>
              <a:t>Key Business Questions </a:t>
            </a:r>
            <a:r>
              <a:rPr lang="en-US" sz="2000" b="0"/>
              <a:t>(1 of 2)</a:t>
            </a:r>
            <a:endParaRPr lang="en-US" b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FDA7BD6-0FB8-6849-A283-A5D5BEAAF0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EVERSANA can work with Neurizon to address the following essential topics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0264E1-24BA-FF7A-0FBF-FE4C5968F36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744133" y="1621366"/>
            <a:ext cx="9838268" cy="4877725"/>
          </a:xfrm>
        </p:spPr>
        <p:txBody>
          <a:bodyPr vert="horz" lIns="91440" tIns="45720" rIns="91440" bIns="45720" numCol="1" rtlCol="0" anchor="t"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 altLang="en-US" b="1" kern="100">
                <a:solidFill>
                  <a:schemeClr val="accent2"/>
                </a:solidFill>
                <a:latin typeface="+mj-lt"/>
                <a:ea typeface="+mn-ea"/>
                <a:cs typeface="Kokila" panose="01010601010101010101" pitchFamily="2"/>
              </a:rPr>
              <a:t>Current Treatment Landscape</a:t>
            </a:r>
          </a:p>
          <a:p>
            <a:pPr marL="182880" marR="0" lvl="0" indent="-182880" algn="l" defTabSz="1219261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300" b="0" i="0" u="none" strike="noStrike" kern="1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+mj-lt"/>
                <a:ea typeface="+mn-ea"/>
                <a:cs typeface="Kokila" panose="01010601010101010101" pitchFamily="2"/>
              </a:rPr>
              <a:t>What is the current treatment paradigm for ALS in the US</a:t>
            </a:r>
            <a:r>
              <a:rPr lang="en-US" altLang="en-US" sz="1300" kern="100">
                <a:solidFill>
                  <a:srgbClr val="3F4344"/>
                </a:solidFill>
                <a:latin typeface="+mj-lt"/>
                <a:ea typeface="+mn-ea"/>
                <a:cs typeface="Kokila" panose="01010601010101010101" pitchFamily="2"/>
              </a:rPr>
              <a:t>?  What have been opportunities and barriers to market access?</a:t>
            </a:r>
          </a:p>
          <a:p>
            <a:pPr>
              <a:spcBef>
                <a:spcPts val="600"/>
              </a:spcBef>
              <a:defRPr/>
            </a:pPr>
            <a:r>
              <a:rPr lang="en-US" altLang="en-US" sz="1300" kern="100">
                <a:latin typeface="+mj-lt"/>
                <a:ea typeface="+mn-ea"/>
                <a:cs typeface="Kokila" panose="01010601010101010101" pitchFamily="2"/>
              </a:rPr>
              <a:t>What are the key challenges or unmet needs that current treatments fail to address?</a:t>
            </a:r>
            <a:endParaRPr lang="en-US" altLang="en-US" sz="1400" b="1" kern="100">
              <a:solidFill>
                <a:schemeClr val="accent3"/>
              </a:solidFill>
              <a:latin typeface="+mj-lt"/>
              <a:ea typeface="+mn-ea"/>
              <a:cs typeface="Kokila" panose="01010601010101010101" pitchFamily="2"/>
            </a:endParaRPr>
          </a:p>
          <a:p>
            <a:pPr>
              <a:spcBef>
                <a:spcPts val="600"/>
              </a:spcBef>
              <a:defRPr/>
            </a:pPr>
            <a:r>
              <a:rPr lang="en-US" altLang="en-US" sz="1300" kern="100">
                <a:latin typeface="+mj-lt"/>
                <a:ea typeface="+mn-ea"/>
                <a:cs typeface="Kokila" panose="01010601010101010101" pitchFamily="2"/>
              </a:rPr>
              <a:t>What are the biggest challenges patients face in accessing or adhering to current therapies (e.g., cost, logistics, side effects, availability of specialists)?</a:t>
            </a:r>
          </a:p>
          <a:p>
            <a:pPr>
              <a:spcBef>
                <a:spcPts val="600"/>
              </a:spcBef>
              <a:defRPr/>
            </a:pPr>
            <a:r>
              <a:rPr lang="en-US" altLang="en-US" sz="1300" kern="100">
                <a:latin typeface="+mj-lt"/>
                <a:ea typeface="+mn-ea"/>
                <a:cs typeface="Kokila" panose="01010601010101010101" pitchFamily="2"/>
              </a:rPr>
              <a:t>What pipeline products are most likely to be competitors to NUZ-001 at launch (e.g., NP-001, CNM-Au8, </a:t>
            </a:r>
            <a:r>
              <a:rPr lang="en-US" altLang="en-US" sz="1300" kern="100" err="1">
                <a:latin typeface="+mj-lt"/>
                <a:ea typeface="+mn-ea"/>
                <a:cs typeface="Kokila" panose="01010601010101010101" pitchFamily="2"/>
              </a:rPr>
              <a:t>PrimeC</a:t>
            </a:r>
            <a:r>
              <a:rPr lang="en-US" altLang="en-US" sz="1300" kern="100">
                <a:latin typeface="+mj-lt"/>
                <a:ea typeface="+mn-ea"/>
                <a:cs typeface="Kokila" panose="01010601010101010101" pitchFamily="2"/>
              </a:rPr>
              <a:t>)? How might the treatment paradigm evolve in the near future? </a:t>
            </a:r>
          </a:p>
          <a:p>
            <a:pPr marL="0" indent="0">
              <a:spcBef>
                <a:spcPts val="600"/>
              </a:spcBef>
              <a:buNone/>
              <a:defRPr/>
            </a:pPr>
            <a:endParaRPr lang="en-US" altLang="en-US" b="1" kern="100">
              <a:solidFill>
                <a:schemeClr val="accent3"/>
              </a:solidFill>
              <a:latin typeface="+mj-lt"/>
              <a:ea typeface="+mn-ea"/>
              <a:cs typeface="Kokila" panose="01010601010101010101" pitchFamily="2"/>
            </a:endParaRPr>
          </a:p>
          <a:p>
            <a:pPr marL="0" indent="0">
              <a:spcBef>
                <a:spcPts val="600"/>
              </a:spcBef>
              <a:buNone/>
              <a:defRPr/>
            </a:pPr>
            <a:r>
              <a:rPr lang="en-US" altLang="en-US" b="1" kern="100">
                <a:solidFill>
                  <a:schemeClr val="accent3"/>
                </a:solidFill>
                <a:latin typeface="+mj-lt"/>
                <a:ea typeface="+mn-ea"/>
                <a:cs typeface="Kokila" panose="01010601010101010101" pitchFamily="2"/>
              </a:rPr>
              <a:t>Product Value Perception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latin typeface="+mj-lt"/>
                <a:ea typeface="+mn-ea"/>
                <a:cs typeface="Kokila" panose="01010601010101010101" pitchFamily="2"/>
              </a:rPr>
              <a:t>What degree of improvement is clinically meaningful and across which metrics? QoL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latin typeface="+mj-lt"/>
                <a:ea typeface="+mn-ea"/>
                <a:cs typeface="Kokila" panose="01010601010101010101" pitchFamily="2"/>
              </a:rPr>
              <a:t>How do physicians feel about the clinical profile for NUZ-001 vs. SOC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latin typeface="+mj-lt"/>
                <a:ea typeface="+mn-ea"/>
                <a:cs typeface="Kokila" panose="01010601010101010101" pitchFamily="2"/>
              </a:rPr>
              <a:t>Are there any concerns with the study design or gaps in evidence provided which payers and KOLs would need to see addressed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latin typeface="+mj-lt"/>
                <a:ea typeface="+mn-ea"/>
                <a:cs typeface="Kokila" panose="01010601010101010101" pitchFamily="2"/>
              </a:rPr>
              <a:t>Where would NUZ-001 fit into the clinical care pathway? (e.g., patient stage of progression, clinical presentation, age)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latin typeface="+mj-lt"/>
                <a:ea typeface="+mn-ea"/>
                <a:cs typeface="Kokila" panose="01010601010101010101" pitchFamily="2"/>
              </a:rPr>
              <a:t>What stage will NUZ-001 have the greatest impact? Does the amount of improvement in the endpoints (or stakeholder perception of value) vary in impact based on stage of disease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latin typeface="+mj-lt"/>
                <a:ea typeface="+mn-ea"/>
                <a:cs typeface="Kokila" panose="01010601010101010101" pitchFamily="2"/>
              </a:rPr>
              <a:t>How does an oral, potentially long-term therapy like NUZ-001 compare to existing options in terms of perceived balance between effectiveness, safety, convenience, affordability, and willingness to use?</a:t>
            </a:r>
            <a:endParaRPr lang="en-US" altLang="en-US" sz="700" b="1" kern="100">
              <a:solidFill>
                <a:schemeClr val="accent5"/>
              </a:solidFill>
              <a:latin typeface="+mj-lt"/>
              <a:ea typeface="+mn-ea"/>
              <a:cs typeface="Kokila" panose="01010601010101010101" pitchFamily="2"/>
            </a:endParaRPr>
          </a:p>
          <a:p>
            <a:pPr>
              <a:spcBef>
                <a:spcPts val="600"/>
              </a:spcBef>
            </a:pPr>
            <a:r>
              <a:rPr lang="en-US" altLang="en-US" sz="1300" kern="100">
                <a:latin typeface="+mj-lt"/>
                <a:ea typeface="+mn-ea"/>
                <a:cs typeface="Kokila" panose="01010601010101010101" pitchFamily="2"/>
              </a:rPr>
              <a:t>How might NUZ-001 differentiate itself from other treatment options – clinically, economically, etc.?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862715E-654D-61FD-E662-05C78A5A374C}"/>
              </a:ext>
            </a:extLst>
          </p:cNvPr>
          <p:cNvSpPr/>
          <p:nvPr/>
        </p:nvSpPr>
        <p:spPr>
          <a:xfrm>
            <a:off x="10008973" y="133646"/>
            <a:ext cx="2092412" cy="27824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/>
              <a:t>Non-Comprehensiv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BC9DB87-9800-FC9A-835E-71477CFBD9F9}"/>
              </a:ext>
            </a:extLst>
          </p:cNvPr>
          <p:cNvCxnSpPr>
            <a:cxnSpLocks/>
          </p:cNvCxnSpPr>
          <p:nvPr/>
        </p:nvCxnSpPr>
        <p:spPr>
          <a:xfrm>
            <a:off x="1514877" y="1683542"/>
            <a:ext cx="0" cy="1745458"/>
          </a:xfrm>
          <a:prstGeom prst="line">
            <a:avLst/>
          </a:prstGeom>
          <a:ln w="38100" cap="rnd">
            <a:solidFill>
              <a:schemeClr val="accent2"/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61D961B-6784-3893-970D-16E79EBBAAE3}"/>
              </a:ext>
            </a:extLst>
          </p:cNvPr>
          <p:cNvCxnSpPr>
            <a:cxnSpLocks/>
          </p:cNvCxnSpPr>
          <p:nvPr/>
        </p:nvCxnSpPr>
        <p:spPr>
          <a:xfrm>
            <a:off x="1514877" y="3905250"/>
            <a:ext cx="0" cy="2381250"/>
          </a:xfrm>
          <a:prstGeom prst="line">
            <a:avLst/>
          </a:prstGeom>
          <a:ln w="38100" cap="rnd">
            <a:solidFill>
              <a:schemeClr val="accent3"/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3E87FF93-C26F-7089-E409-9069F8CE6882}"/>
              </a:ext>
            </a:extLst>
          </p:cNvPr>
          <p:cNvSpPr/>
          <p:nvPr/>
        </p:nvSpPr>
        <p:spPr>
          <a:xfrm rot="5400000">
            <a:off x="1440232" y="2543150"/>
            <a:ext cx="261257" cy="111967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Isosceles Triangle 8">
            <a:extLst>
              <a:ext uri="{FF2B5EF4-FFF2-40B4-BE49-F238E27FC236}">
                <a16:creationId xmlns:a16="http://schemas.microsoft.com/office/drawing/2014/main" id="{7265358B-E8AA-7856-0E58-F12D3815719D}"/>
              </a:ext>
            </a:extLst>
          </p:cNvPr>
          <p:cNvSpPr/>
          <p:nvPr/>
        </p:nvSpPr>
        <p:spPr>
          <a:xfrm rot="5400000">
            <a:off x="1440232" y="4977979"/>
            <a:ext cx="261257" cy="11196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phic 16" descr="Diamond with solid fill">
            <a:extLst>
              <a:ext uri="{FF2B5EF4-FFF2-40B4-BE49-F238E27FC236}">
                <a16:creationId xmlns:a16="http://schemas.microsoft.com/office/drawing/2014/main" id="{91B4A325-4CFF-9738-400C-BF919946CAE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04380" y="4627109"/>
            <a:ext cx="914400" cy="914400"/>
          </a:xfrm>
          <a:prstGeom prst="rect">
            <a:avLst/>
          </a:prstGeom>
        </p:spPr>
      </p:pic>
      <p:pic>
        <p:nvPicPr>
          <p:cNvPr id="19" name="Graphic 18" descr="Route (Two Pins With A Path) with solid fill">
            <a:extLst>
              <a:ext uri="{FF2B5EF4-FFF2-40B4-BE49-F238E27FC236}">
                <a16:creationId xmlns:a16="http://schemas.microsoft.com/office/drawing/2014/main" id="{38A8B710-B18F-3A3F-5935-8C5E821F33D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89515" y="1721680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806187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icon&#10;&#10;Description automatically generated">
            <a:extLst>
              <a:ext uri="{FF2B5EF4-FFF2-40B4-BE49-F238E27FC236}">
                <a16:creationId xmlns:a16="http://schemas.microsoft.com/office/drawing/2014/main" id="{56442C42-78D0-70B7-0785-8C813DD4BA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55192" y="2941476"/>
            <a:ext cx="3140288" cy="312341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6FB9121-93A0-6182-D2D1-09BFFE0715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ackground and Business Need</a:t>
            </a:r>
            <a:br>
              <a:rPr lang="en-US"/>
            </a:br>
            <a:r>
              <a:rPr lang="en-US" b="0"/>
              <a:t>Key Business Questions </a:t>
            </a:r>
            <a:r>
              <a:rPr lang="en-US" sz="2000" b="0"/>
              <a:t>(2 of 2)</a:t>
            </a:r>
            <a:endParaRPr lang="en-US" b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FDA7BD6-0FB8-6849-A283-A5D5BEAAF0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EVERSANA can work with Neurizon to address the following essential topics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0264E1-24BA-FF7A-0FBF-FE4C5968F36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81524" y="1559838"/>
            <a:ext cx="9838268" cy="4939253"/>
          </a:xfrm>
        </p:spPr>
        <p:txBody>
          <a:bodyPr numCol="1"/>
          <a:lstStyle/>
          <a:p>
            <a:pPr marL="0" indent="0">
              <a:spcBef>
                <a:spcPts val="1200"/>
              </a:spcBef>
              <a:buNone/>
            </a:pPr>
            <a:r>
              <a:rPr lang="en-US" altLang="en-US" b="1" kern="100">
                <a:solidFill>
                  <a:schemeClr val="tx2"/>
                </a:solidFill>
                <a:latin typeface="+mj-lt"/>
                <a:ea typeface="+mn-ea"/>
                <a:cs typeface="Kokila" panose="01010601010101010101" pitchFamily="2"/>
              </a:rPr>
              <a:t>Pricing Potential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ea typeface="+mn-ea"/>
                <a:cs typeface="Kokila" panose="01010601010101010101" pitchFamily="2"/>
              </a:rPr>
              <a:t>Which analogues will be used by payers to benchmark price?  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ea typeface="+mn-ea"/>
                <a:cs typeface="Kokila" panose="01010601010101010101" pitchFamily="2"/>
              </a:rPr>
              <a:t>How will payers view NUZ-001 relative to </a:t>
            </a:r>
            <a:r>
              <a:rPr lang="en-US" altLang="en-US" sz="1300" kern="100" err="1">
                <a:ea typeface="+mn-ea"/>
                <a:cs typeface="Kokila" panose="01010601010101010101" pitchFamily="2"/>
              </a:rPr>
              <a:t>Radicava</a:t>
            </a:r>
            <a:r>
              <a:rPr lang="en-US" altLang="en-US" sz="1300" kern="100">
                <a:ea typeface="+mn-ea"/>
                <a:cs typeface="Kokila" panose="01010601010101010101" pitchFamily="2"/>
              </a:rPr>
              <a:t>, </a:t>
            </a:r>
            <a:r>
              <a:rPr lang="en-US" altLang="en-US" sz="1300" kern="100" err="1">
                <a:ea typeface="+mn-ea"/>
                <a:cs typeface="Kokila" panose="01010601010101010101" pitchFamily="2"/>
              </a:rPr>
              <a:t>Riluzole</a:t>
            </a:r>
            <a:r>
              <a:rPr lang="en-US" altLang="en-US" sz="1300" kern="100">
                <a:ea typeface="+mn-ea"/>
                <a:cs typeface="Kokila" panose="01010601010101010101" pitchFamily="2"/>
              </a:rPr>
              <a:t> and other therapies? What are implications for net price expectations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ea typeface="+mn-ea"/>
                <a:cs typeface="Kokila" panose="01010601010101010101" pitchFamily="2"/>
              </a:rPr>
              <a:t>What are the potential access scenarios given different price ranges, and how do they impact the forecast for NUZ-001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ea typeface="+mn-ea"/>
                <a:cs typeface="Kokila" panose="01010601010101010101" pitchFamily="2"/>
              </a:rPr>
              <a:t>What is the optimal launch price range for NUZ-001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ea typeface="+mn-ea"/>
                <a:cs typeface="Kokila" panose="01010601010101010101" pitchFamily="2"/>
              </a:rPr>
              <a:t>What rebate and discount ranges would be expected in the US? How would rebates and discounts impact market access and physician uptake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ea typeface="+mn-ea"/>
                <a:cs typeface="Kokila" panose="01010601010101010101" pitchFamily="2"/>
              </a:rPr>
              <a:t>What is patient price sensitivity for NUZ-001? Does this vary by patient type?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US" altLang="en-US" b="1" kern="100">
                <a:solidFill>
                  <a:schemeClr val="accent4"/>
                </a:solidFill>
                <a:latin typeface="+mj-lt"/>
                <a:ea typeface="+mn-ea"/>
                <a:cs typeface="Kokila" panose="01010601010101010101" pitchFamily="2"/>
              </a:rPr>
              <a:t>Access, Volume and Uptake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ea typeface="+mn-ea"/>
                <a:cs typeface="Kokila" panose="01010601010101010101" pitchFamily="2"/>
              </a:rPr>
              <a:t>How will HCPs respond to the entry of a novel option for ALS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ea typeface="+mn-ea"/>
                <a:cs typeface="Kokila" panose="01010601010101010101" pitchFamily="2"/>
              </a:rPr>
              <a:t>What are the key barriers and drivers that will influence prescribing of NUZ-001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cs typeface="Kokila"/>
              </a:rPr>
              <a:t>What potential access challenges might NUZ-001 face, and how can they be resolved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ea typeface="+mn-ea"/>
                <a:cs typeface="Kokila" panose="01010601010101010101" pitchFamily="2"/>
              </a:rPr>
              <a:t>How will pricing and utilization management such as step edits, prior authorization and payer hurdles, impact physician uptake of NUZ-001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ea typeface="+mn-ea"/>
                <a:cs typeface="Kokila" panose="01010601010101010101" pitchFamily="2"/>
              </a:rPr>
              <a:t>What evidence would support the inclusion of NUZ-001 into the guidelines for the treatment of ALS, and how might that influence prescribing? Payer coverage and access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ea typeface="+mn-ea"/>
                <a:cs typeface="Kokila" panose="01010601010101010101" pitchFamily="2"/>
              </a:rPr>
              <a:t>How will patient advocacy groups influence NUZ-001 market potential? 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ea typeface="+mn-ea"/>
                <a:cs typeface="Kokila" panose="01010601010101010101" pitchFamily="2"/>
              </a:rPr>
              <a:t>What factors most influence patients’ willingness to start a new ALS therapy (e.g., physician recommendation, strength of clinical data, coverage certainty)?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862715E-654D-61FD-E662-05C78A5A374C}"/>
              </a:ext>
            </a:extLst>
          </p:cNvPr>
          <p:cNvSpPr/>
          <p:nvPr/>
        </p:nvSpPr>
        <p:spPr>
          <a:xfrm>
            <a:off x="10008973" y="133646"/>
            <a:ext cx="2092412" cy="27824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/>
              <a:t>Non-Comprehensiv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BC9DB87-9800-FC9A-835E-71477CFBD9F9}"/>
              </a:ext>
            </a:extLst>
          </p:cNvPr>
          <p:cNvCxnSpPr>
            <a:cxnSpLocks/>
          </p:cNvCxnSpPr>
          <p:nvPr/>
        </p:nvCxnSpPr>
        <p:spPr>
          <a:xfrm>
            <a:off x="1514877" y="1676400"/>
            <a:ext cx="0" cy="2009775"/>
          </a:xfrm>
          <a:prstGeom prst="line">
            <a:avLst/>
          </a:prstGeom>
          <a:ln w="38100" cap="rnd">
            <a:solidFill>
              <a:schemeClr val="tx2"/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61D961B-6784-3893-970D-16E79EBBAAE3}"/>
              </a:ext>
            </a:extLst>
          </p:cNvPr>
          <p:cNvCxnSpPr>
            <a:cxnSpLocks/>
          </p:cNvCxnSpPr>
          <p:nvPr/>
        </p:nvCxnSpPr>
        <p:spPr>
          <a:xfrm>
            <a:off x="1514877" y="4060839"/>
            <a:ext cx="0" cy="2311386"/>
          </a:xfrm>
          <a:prstGeom prst="line">
            <a:avLst/>
          </a:prstGeom>
          <a:ln w="38100" cap="rnd">
            <a:solidFill>
              <a:schemeClr val="accent4"/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3E87FF93-C26F-7089-E409-9069F8CE6882}"/>
              </a:ext>
            </a:extLst>
          </p:cNvPr>
          <p:cNvSpPr/>
          <p:nvPr/>
        </p:nvSpPr>
        <p:spPr>
          <a:xfrm rot="5400000">
            <a:off x="1440232" y="2616789"/>
            <a:ext cx="261257" cy="111967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Isosceles Triangle 8">
            <a:extLst>
              <a:ext uri="{FF2B5EF4-FFF2-40B4-BE49-F238E27FC236}">
                <a16:creationId xmlns:a16="http://schemas.microsoft.com/office/drawing/2014/main" id="{7265358B-E8AA-7856-0E58-F12D3815719D}"/>
              </a:ext>
            </a:extLst>
          </p:cNvPr>
          <p:cNvSpPr/>
          <p:nvPr/>
        </p:nvSpPr>
        <p:spPr>
          <a:xfrm rot="5400000">
            <a:off x="1440232" y="4917656"/>
            <a:ext cx="261257" cy="111967"/>
          </a:xfrm>
          <a:prstGeom prst="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Graphic 20" descr="Upward trend with solid fill">
            <a:extLst>
              <a:ext uri="{FF2B5EF4-FFF2-40B4-BE49-F238E27FC236}">
                <a16:creationId xmlns:a16="http://schemas.microsoft.com/office/drawing/2014/main" id="{4BFEB2FB-3AEC-E570-2E9D-A5E430FC1B7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33831" y="4516439"/>
            <a:ext cx="914400" cy="914400"/>
          </a:xfrm>
          <a:prstGeom prst="rect">
            <a:avLst/>
          </a:prstGeom>
        </p:spPr>
      </p:pic>
      <p:pic>
        <p:nvPicPr>
          <p:cNvPr id="25" name="Graphic 24" descr="Label with solid fill">
            <a:extLst>
              <a:ext uri="{FF2B5EF4-FFF2-40B4-BE49-F238E27FC236}">
                <a16:creationId xmlns:a16="http://schemas.microsoft.com/office/drawing/2014/main" id="{2572AB6C-90BD-E20F-D8BF-5234576A32D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33831" y="2218852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818978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CD33FB5-1F75-7247-CCCC-8F7EFF6A21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ject Approach</a:t>
            </a:r>
            <a:br>
              <a:rPr lang="en-US" b="0"/>
            </a:br>
            <a:r>
              <a:rPr lang="en-US" b="0"/>
              <a:t>Project Phases Overview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B4D6A81-8C53-BF07-A1B3-EFA2C30F4F0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F79BCFD-0BD8-394D-2898-646AC8865A0E}"/>
              </a:ext>
            </a:extLst>
          </p:cNvPr>
          <p:cNvSpPr txBox="1"/>
          <p:nvPr/>
        </p:nvSpPr>
        <p:spPr>
          <a:xfrm>
            <a:off x="8573554" y="1163898"/>
            <a:ext cx="3394310" cy="47739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ctr" anchorCtr="0" compatLnSpc="1">
            <a:noAutofit/>
          </a:bodyPr>
          <a:lstStyle/>
          <a:p>
            <a:pPr marL="0" marR="0" lvl="0" indent="0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mercial Forecasting</a:t>
            </a:r>
            <a:endParaRPr lang="en-GB" sz="1400" b="1" kern="0">
              <a:solidFill>
                <a:schemeClr val="accent5"/>
              </a:solidFill>
              <a:latin typeface="Arial"/>
            </a:endParaRPr>
          </a:p>
          <a:p>
            <a:pPr marL="0" marR="0" lvl="0" indent="0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b="1" kern="0">
                <a:solidFill>
                  <a:schemeClr val="accent5"/>
                </a:solidFill>
                <a:latin typeface="Arial"/>
              </a:rPr>
              <a:t>for Target Markets</a:t>
            </a:r>
            <a:endParaRPr kumimoji="0" lang="en-GB" sz="1400" b="1" i="0" u="none" strike="noStrike" kern="0" cap="none" spc="0" normalizeH="0" baseline="0" noProof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object 9">
            <a:extLst>
              <a:ext uri="{FF2B5EF4-FFF2-40B4-BE49-F238E27FC236}">
                <a16:creationId xmlns:a16="http://schemas.microsoft.com/office/drawing/2014/main" id="{A2A887B3-A48D-0C33-84A8-4BA97D0DA5AB}"/>
              </a:ext>
            </a:extLst>
          </p:cNvPr>
          <p:cNvSpPr txBox="1"/>
          <p:nvPr/>
        </p:nvSpPr>
        <p:spPr>
          <a:xfrm>
            <a:off x="3846339" y="1189168"/>
            <a:ext cx="222885" cy="4521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-5" normalizeH="0" baseline="0" noProof="0">
                <a:ln>
                  <a:noFill/>
                </a:ln>
                <a:solidFill>
                  <a:srgbClr val="007397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  <a:endParaRPr kumimoji="0" sz="2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2" name="object 16">
            <a:extLst>
              <a:ext uri="{FF2B5EF4-FFF2-40B4-BE49-F238E27FC236}">
                <a16:creationId xmlns:a16="http://schemas.microsoft.com/office/drawing/2014/main" id="{2E9FACA0-B2DD-E65A-261C-171A99EEAE7C}"/>
              </a:ext>
            </a:extLst>
          </p:cNvPr>
          <p:cNvSpPr txBox="1"/>
          <p:nvPr/>
        </p:nvSpPr>
        <p:spPr>
          <a:xfrm>
            <a:off x="8229186" y="1189168"/>
            <a:ext cx="222885" cy="4521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-5" normalizeH="0" baseline="0" noProof="0">
                <a:ln>
                  <a:noFill/>
                </a:ln>
                <a:solidFill>
                  <a:srgbClr val="EC8A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3</a:t>
            </a:r>
            <a:endParaRPr kumimoji="0" sz="2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aphicFrame>
        <p:nvGraphicFramePr>
          <p:cNvPr id="13" name="object 17">
            <a:extLst>
              <a:ext uri="{FF2B5EF4-FFF2-40B4-BE49-F238E27FC236}">
                <a16:creationId xmlns:a16="http://schemas.microsoft.com/office/drawing/2014/main" id="{8B13A87D-B6CF-FFBE-7DC9-41C401B1268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9640549"/>
              </p:ext>
            </p:extLst>
          </p:nvPr>
        </p:nvGraphicFramePr>
        <p:xfrm>
          <a:off x="595011" y="1695512"/>
          <a:ext cx="10972800" cy="46964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2646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35284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35531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663440">
                <a:tc>
                  <a:txBody>
                    <a:bodyPr/>
                    <a:lstStyle/>
                    <a:p>
                      <a:pPr marL="182245" marR="0" lvl="0" indent="-182245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Kick off project with Neurizon team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visit </a:t>
                      </a: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the prior review of the existing forecast model and align on specific areas for attention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Assess available data and review TPP deck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Brainstorm on points of differentiation and hypotheses on reimbursement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Align on key business questions (KBQs)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Align on research </a:t>
                      </a: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ample</a:t>
                      </a:r>
                    </a:p>
                    <a:p>
                      <a:pPr marL="182245" marR="0" lvl="0" indent="-182245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duct secondary research to highlight: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Competitors and analogue assessment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Current pricing and reimbursement of competitors and analogues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Gap analysis of unmet need</a:t>
                      </a:r>
                      <a:endParaRPr kumimoji="0" lang="en-US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Arial"/>
                      </a:endParaRP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Clinical program gaps and considerations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Relevant reimbursement process and timelines</a:t>
                      </a:r>
                    </a:p>
                    <a:p>
                      <a:pPr marL="182880" marR="0" lvl="0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duct claims analysis for market sizing and payer mix (optional)</a:t>
                      </a:r>
                    </a:p>
                    <a:p>
                      <a:pPr marL="182880" marR="0" lvl="0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evelop primary research materials in collaboration with Neurizon team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Screeners 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Discussion Guides 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TPP (i.e., data / clinical launch scenarios) 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Competitive </a:t>
                      </a: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aunch scenarios</a:t>
                      </a:r>
                    </a:p>
                    <a:p>
                      <a:pPr marL="182245" marR="0" lvl="0" indent="-182245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old periodic check-ins with Neurizon team to present ongoing findings and discuss strategies</a:t>
                      </a:r>
                    </a:p>
                  </a:txBody>
                  <a:tcPr marT="91440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>
                      <a:solidFill>
                        <a:srgbClr val="FFFFFF"/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2880" marR="13970" lvl="0" indent="-182880" algn="l" rtl="0" eaLnBrk="1" fontAlgn="auto" latinLnBrk="0" hangingPunct="1">
                        <a:lnSpc>
                          <a:spcPct val="100000"/>
                        </a:lnSpc>
                        <a:spcBef>
                          <a:spcPts val="81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Arial"/>
                        <a:buChar char="•"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duct primary market research with </a:t>
                      </a:r>
                      <a:r>
                        <a:rPr kumimoji="0" lang="en-US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S</a:t>
                      </a: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ayers</a:t>
                      </a: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o: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nderstand perspectives on potential pricing, reimbursement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ather reactions to NUZ-001 value proposition</a:t>
                      </a:r>
                      <a:endParaRPr kumimoji="0" lang="en-US" sz="1000" b="0" i="0" u="none" strike="noStrike" kern="1200" cap="none" spc="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82880" marR="13970" lvl="0" indent="-182880" algn="l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Arial"/>
                        <a:buChar char="•"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Conduct primary market research with relevant US </a:t>
                      </a:r>
                      <a:r>
                        <a:rPr kumimoji="0" lang="en-US" sz="10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KOLS</a:t>
                      </a: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 (i.e., providers) to: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Confirm current perception of standard of care and unmet needs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Test clinical profile of NUZ-001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Determine levels of provider adoption given pricing &amp; access considerations</a:t>
                      </a:r>
                    </a:p>
                    <a:p>
                      <a:pPr marL="182880" marR="13970" lvl="0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Arial" panose="020B0604020202020204" pitchFamily="34" charset="0"/>
                        <a:buChar char="•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Conduct online survey with </a:t>
                      </a:r>
                      <a:r>
                        <a:rPr kumimoji="0" lang="en-US" sz="10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prescribers</a:t>
                      </a: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 to: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Gather more robust feedback on value perception, physician prescribing, and impact of pricing and access considerations with likely future prescribers and relevant treaters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Adds quantitative </a:t>
                      </a: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rigor to key inputs for forecasting exercise</a:t>
                      </a:r>
                      <a:endParaRPr kumimoji="0" lang="en-GB" sz="1000" b="0" i="0" u="none" strike="noStrike" kern="1200" cap="none" spc="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Arial"/>
                      </a:endParaRPr>
                    </a:p>
                    <a:p>
                      <a:pPr marL="182880" marR="13970" lvl="0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810"/>
                        </a:spcBef>
                        <a:spcAft>
                          <a:spcPts val="0"/>
                        </a:spcAft>
                        <a:buClrTx/>
                        <a:buSzPct val="109090"/>
                        <a:buFontTx/>
                        <a:buChar char="•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Conduct primary market research with </a:t>
                      </a:r>
                      <a:r>
                        <a:rPr kumimoji="0" lang="en-US" sz="10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patients/caregivers </a:t>
                      </a: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to: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Test </a:t>
                      </a: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clinical profile of NUZ-001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Determine levels of patient adoption given clinical profile and out of pocket  (OOP) cost </a:t>
                      </a:r>
                    </a:p>
                    <a:p>
                      <a:pPr marL="182880" marR="13970" lvl="2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81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Arial" panose="020B0604020202020204" pitchFamily="34" charset="0"/>
                        <a:buChar char="•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Conduct online survey with patients to: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G</a:t>
                      </a:r>
                      <a:r>
                        <a:rPr kumimoji="0" lang="en-US" altLang="zh-CN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ather</a:t>
                      </a: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 more robust feedback on product profile, adoption, and OOP considerations</a:t>
                      </a:r>
                    </a:p>
                    <a:p>
                      <a:pPr marL="182880" marR="13970" lvl="0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810"/>
                        </a:spcBef>
                        <a:spcAft>
                          <a:spcPts val="0"/>
                        </a:spcAft>
                        <a:buClrTx/>
                        <a:buSzPct val="109090"/>
                        <a:buFontTx/>
                        <a:buChar char="•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GB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Synthesize</a:t>
                      </a: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 insights from secondary and primary market research 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Value proposition</a:t>
                      </a: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 perceptions</a:t>
                      </a:r>
                      <a:endParaRPr kumimoji="0" lang="en-US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Arial"/>
                      </a:endParaRP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Comparator and price range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Expected utilization vs. competitors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Recommendations for evidence generation to support reimbursement and access and pricing</a:t>
                      </a:r>
                    </a:p>
                  </a:txBody>
                  <a:tcPr marT="9144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2880" marR="257810" lvl="0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buClrTx/>
                        <a:buSzPct val="109090"/>
                        <a:buFontTx/>
                        <a:buChar char="•"/>
                        <a:tabLst>
                          <a:tab pos="15113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Input findings from all previous research to inform key forecast assumptions</a:t>
                      </a:r>
                    </a:p>
                    <a:p>
                      <a:pPr marL="182880" marR="257810" lvl="0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buClrTx/>
                        <a:buSzPct val="109090"/>
                        <a:buFontTx/>
                        <a:buChar char="•"/>
                        <a:tabLst>
                          <a:tab pos="15113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Build forecast funnel and dashboard</a:t>
                      </a:r>
                    </a:p>
                    <a:p>
                      <a:pPr marL="182880" marR="257810" lvl="0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buClrTx/>
                        <a:buSzPct val="109090"/>
                        <a:buFontTx/>
                        <a:buChar char="•"/>
                        <a:tabLst>
                          <a:tab pos="15113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Develop robust US forecast, leveraging market insights from key stakeholders and secondary research findings: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Define and size the market opportunity (TAM/SAM)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Market share over time (SOM)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Anticipated pricing corridors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Outline top-level go-to-market options and assessment including resource needs and cost elements</a:t>
                      </a:r>
                      <a:r>
                        <a:rPr kumimoji="0" lang="en-US" sz="1000" b="0" i="0" u="none" strike="noStrike" kern="1200" cap="none" spc="-1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, such as field force size and expenses</a:t>
                      </a:r>
                      <a:endParaRPr kumimoji="0" lang="en-US" sz="1000" b="0" i="0" u="none" strike="noStrike" kern="1200" cap="none" spc="-1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Arial"/>
                      </a:endParaRPr>
                    </a:p>
                    <a:p>
                      <a:pPr marL="182880" marR="115570" lvl="0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795"/>
                        </a:spcBef>
                        <a:spcAft>
                          <a:spcPts val="0"/>
                        </a:spcAft>
                        <a:buClrTx/>
                        <a:buSzPct val="109090"/>
                        <a:buFontTx/>
                        <a:buChar char="•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Build baseline working model with input variables to determine potential revenue potential </a:t>
                      </a:r>
                    </a:p>
                    <a:p>
                      <a:pPr marL="182880" marR="115570" lvl="0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795"/>
                        </a:spcBef>
                        <a:spcAft>
                          <a:spcPts val="0"/>
                        </a:spcAft>
                        <a:buClrTx/>
                        <a:buSzPct val="109090"/>
                        <a:buFontTx/>
                        <a:buChar char="•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Review forecast with </a:t>
                      </a:r>
                      <a:r>
                        <a:rPr kumimoji="0" lang="en-US" sz="10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Neurizon</a:t>
                      </a: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 team</a:t>
                      </a:r>
                    </a:p>
                    <a:p>
                      <a:pPr marL="182880" marR="115570" lvl="0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795"/>
                        </a:spcBef>
                        <a:spcAft>
                          <a:spcPts val="0"/>
                        </a:spcAft>
                        <a:buClrTx/>
                        <a:buSzPct val="109090"/>
                        <a:buFontTx/>
                        <a:buChar char="•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Develop final report with recommendations, including modular outputs in format ready to support future board and investor communications (forecast visuals, pricing tables and summary insights)</a:t>
                      </a:r>
                    </a:p>
                    <a:p>
                      <a:pPr marL="182880" marR="115570" lvl="0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795"/>
                        </a:spcBef>
                        <a:spcAft>
                          <a:spcPts val="0"/>
                        </a:spcAft>
                        <a:buClrTx/>
                        <a:buSzPct val="109090"/>
                        <a:buFontTx/>
                        <a:buChar char="•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Outline considerations on how the model would need to be adapted for EU4+UK, Australia and Japan </a:t>
                      </a:r>
                      <a:endParaRPr kumimoji="0" lang="en-US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Arial"/>
                      </a:endParaRPr>
                    </a:p>
                  </a:txBody>
                  <a:tcPr marT="9144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>
                      <a:solidFill>
                        <a:srgbClr val="FFFFFF"/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4" name="object 20">
            <a:extLst>
              <a:ext uri="{FF2B5EF4-FFF2-40B4-BE49-F238E27FC236}">
                <a16:creationId xmlns:a16="http://schemas.microsoft.com/office/drawing/2014/main" id="{016C9938-EAA2-5E25-99D7-1157922A48DE}"/>
              </a:ext>
            </a:extLst>
          </p:cNvPr>
          <p:cNvSpPr txBox="1"/>
          <p:nvPr/>
        </p:nvSpPr>
        <p:spPr>
          <a:xfrm>
            <a:off x="541619" y="1189168"/>
            <a:ext cx="222885" cy="4521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800" b="1" i="0" u="none" strike="noStrike" kern="0" cap="none" spc="-5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</a:t>
            </a:r>
            <a:endParaRPr kumimoji="0" sz="2800" b="0" i="0" u="none" strike="noStrike" kern="0" cap="none" spc="0" normalizeH="0" baseline="0" noProof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37B846B-A14B-CCAF-27DF-367EEC5FD788}"/>
              </a:ext>
            </a:extLst>
          </p:cNvPr>
          <p:cNvSpPr txBox="1"/>
          <p:nvPr/>
        </p:nvSpPr>
        <p:spPr>
          <a:xfrm>
            <a:off x="764504" y="1163898"/>
            <a:ext cx="2540717" cy="47739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ctr" anchorCtr="0" compatLnSpc="1">
            <a:noAutofit/>
          </a:bodyPr>
          <a:lstStyle/>
          <a:p>
            <a:pPr marL="0" marR="0" lvl="0" indent="0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S Landscape and </a:t>
            </a:r>
            <a:b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ndational Insights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8A4E3B9-F35C-ABE0-EC68-D585FFC758BC}"/>
              </a:ext>
            </a:extLst>
          </p:cNvPr>
          <p:cNvSpPr txBox="1"/>
          <p:nvPr/>
        </p:nvSpPr>
        <p:spPr>
          <a:xfrm>
            <a:off x="4157675" y="1163898"/>
            <a:ext cx="3374100" cy="51589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ctr" anchorCtr="0" compatLnSpc="1">
            <a:noAutofit/>
          </a:bodyPr>
          <a:lstStyle/>
          <a:p>
            <a:pPr marL="0" marR="0" lvl="0" indent="0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keholder Insights and </a:t>
            </a:r>
            <a:b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cess Strategy</a:t>
            </a:r>
          </a:p>
        </p:txBody>
      </p:sp>
    </p:spTree>
    <p:extLst>
      <p:ext uri="{BB962C8B-B14F-4D97-AF65-F5344CB8AC3E}">
        <p14:creationId xmlns:p14="http://schemas.microsoft.com/office/powerpoint/2010/main" val="2442434732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8B570E-6E95-4C53-8576-3663C7AA50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etailed Project Approach: US Landscape and Foundational Insights </a:t>
            </a:r>
            <a:b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lang="en-US" b="0"/>
              <a:t>Align on Key Business Questio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25C058-31EB-44EC-A031-061F90244A8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524596"/>
          </a:xfrm>
        </p:spPr>
        <p:txBody>
          <a:bodyPr/>
          <a:lstStyle/>
          <a:p>
            <a:r>
              <a:rPr lang="en-US" i="1"/>
              <a:t>We will conduct secondary research and connect with the Neurizon team to shape our initial hypotheses for research.</a:t>
            </a:r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B1C314F-664C-4424-BF61-9569FFA75A6E}"/>
              </a:ext>
            </a:extLst>
          </p:cNvPr>
          <p:cNvSpPr/>
          <p:nvPr/>
        </p:nvSpPr>
        <p:spPr>
          <a:xfrm>
            <a:off x="609600" y="2140708"/>
            <a:ext cx="5101251" cy="1479682"/>
          </a:xfrm>
          <a:prstGeom prst="rect">
            <a:avLst/>
          </a:prstGeom>
          <a:solidFill>
            <a:schemeClr val="accent5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AFFB24C-10FD-4820-95D7-84D1EFE9E09C}"/>
              </a:ext>
            </a:extLst>
          </p:cNvPr>
          <p:cNvSpPr/>
          <p:nvPr/>
        </p:nvSpPr>
        <p:spPr>
          <a:xfrm>
            <a:off x="609602" y="3842832"/>
            <a:ext cx="5101250" cy="1145145"/>
          </a:xfrm>
          <a:prstGeom prst="rect">
            <a:avLst/>
          </a:prstGeom>
          <a:solidFill>
            <a:schemeClr val="accent3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xtBox 8">
            <a:extLst>
              <a:ext uri="{FF2B5EF4-FFF2-40B4-BE49-F238E27FC236}">
                <a16:creationId xmlns:a16="http://schemas.microsoft.com/office/drawing/2014/main" id="{D1561BE1-AD65-449B-8CA9-5636F146CB42}"/>
              </a:ext>
            </a:extLst>
          </p:cNvPr>
          <p:cNvSpPr txBox="1"/>
          <p:nvPr/>
        </p:nvSpPr>
        <p:spPr>
          <a:xfrm flipH="1">
            <a:off x="1909608" y="3928283"/>
            <a:ext cx="3801241" cy="104644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rform Additional Secondary Research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166688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met needs in ALS diagnosis</a:t>
            </a:r>
          </a:p>
          <a:p>
            <a:pPr marL="285750" marR="0" lvl="0" indent="-166688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imbursement in the US</a:t>
            </a:r>
          </a:p>
          <a:p>
            <a:pPr marL="285750" marR="0" lvl="0" indent="-166688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>
                <a:solidFill>
                  <a:srgbClr val="FFFFFF"/>
                </a:solidFill>
                <a:latin typeface="Arial"/>
              </a:rPr>
              <a:t>Reimbursement considerations for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U4, UK, Japan</a:t>
            </a:r>
            <a:endParaRPr lang="en-US" sz="1200">
              <a:solidFill>
                <a:srgbClr val="FFFFFF"/>
              </a:solidFill>
              <a:latin typeface="Arial"/>
            </a:endParaRPr>
          </a:p>
          <a:p>
            <a:pPr marL="285750" marR="0" lvl="0" indent="-166688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>
                <a:solidFill>
                  <a:srgbClr val="FFFFFF"/>
                </a:solidFill>
                <a:latin typeface="Arial"/>
              </a:rPr>
              <a:t>Opportunities and risks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Box 9">
            <a:extLst>
              <a:ext uri="{FF2B5EF4-FFF2-40B4-BE49-F238E27FC236}">
                <a16:creationId xmlns:a16="http://schemas.microsoft.com/office/drawing/2014/main" id="{A880AFAF-FDB1-4037-B3BD-888622146EE2}"/>
              </a:ext>
            </a:extLst>
          </p:cNvPr>
          <p:cNvSpPr txBox="1"/>
          <p:nvPr/>
        </p:nvSpPr>
        <p:spPr>
          <a:xfrm flipH="1">
            <a:off x="1909609" y="2230760"/>
            <a:ext cx="3462586" cy="126188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llect and Review Previous Research  Materials 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166688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firm</a:t>
            </a:r>
            <a:r>
              <a:rPr kumimoji="0" lang="en-US" sz="1200" b="0" i="0" u="none" strike="noStrike" kern="1200" cap="none" spc="-5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key</a:t>
            </a:r>
            <a:r>
              <a:rPr kumimoji="0" lang="en-US" sz="1200" b="0" i="0" u="none" strike="noStrike" kern="1200" cap="none" spc="-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usiness</a:t>
            </a:r>
            <a:r>
              <a:rPr kumimoji="0" lang="en-US" sz="1200" b="0" i="0" u="none" strike="noStrike" kern="1200" cap="none" spc="-6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questions</a:t>
            </a:r>
            <a:r>
              <a:rPr kumimoji="0" lang="en-US" sz="1200" b="0" i="0" u="none" strike="noStrike" kern="1200" cap="none" spc="-6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d</a:t>
            </a:r>
            <a:r>
              <a:rPr kumimoji="0" lang="en-US" sz="1200" b="0" i="0" u="none" strike="noStrike" kern="1200" cap="none" spc="-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roject</a:t>
            </a:r>
            <a:r>
              <a:rPr kumimoji="0" lang="en-US" sz="1200" b="0" i="0" u="none" strike="noStrike" kern="1200" cap="none" spc="-6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bjectives</a:t>
            </a:r>
            <a:r>
              <a:rPr kumimoji="0" lang="en-US" sz="1200" b="0" i="0" u="none" strike="noStrike" kern="1200" cap="none" spc="-5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ith</a:t>
            </a:r>
            <a:r>
              <a:rPr kumimoji="0" lang="en-US" sz="1200" b="0" i="0" u="none" strike="noStrike" kern="1200" cap="none" spc="-2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1200" b="0" i="0" u="none" strike="noStrike" kern="1200" cap="none" spc="-2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ll </a:t>
            </a:r>
            <a:r>
              <a:rPr kumimoji="0" lang="en-US" sz="1200" b="0" i="0" u="none" strike="noStrike" kern="1200" cap="none" spc="-1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takeholders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F4344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85750" marR="0" lvl="0" indent="-166688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view existing market research and resources</a:t>
            </a:r>
          </a:p>
        </p:txBody>
      </p:sp>
      <p:sp>
        <p:nvSpPr>
          <p:cNvPr id="10" name="Isosceles Triangle 9">
            <a:extLst>
              <a:ext uri="{FF2B5EF4-FFF2-40B4-BE49-F238E27FC236}">
                <a16:creationId xmlns:a16="http://schemas.microsoft.com/office/drawing/2014/main" id="{88B6429F-570C-4EDF-AFA4-D7E5CEE55DA9}"/>
              </a:ext>
            </a:extLst>
          </p:cNvPr>
          <p:cNvSpPr/>
          <p:nvPr/>
        </p:nvSpPr>
        <p:spPr>
          <a:xfrm rot="5400000">
            <a:off x="4568089" y="2942291"/>
            <a:ext cx="3544749" cy="1259225"/>
          </a:xfrm>
          <a:prstGeom prst="triangle">
            <a:avLst>
              <a:gd name="adj" fmla="val 50717"/>
            </a:avLst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5400000" scaled="1"/>
          </a:gra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381C773-5C8B-4852-ADD4-DA1B97E4C381}"/>
              </a:ext>
            </a:extLst>
          </p:cNvPr>
          <p:cNvGrpSpPr/>
          <p:nvPr/>
        </p:nvGrpSpPr>
        <p:grpSpPr>
          <a:xfrm>
            <a:off x="893207" y="2329183"/>
            <a:ext cx="786136" cy="786136"/>
            <a:chOff x="869208" y="2145890"/>
            <a:chExt cx="786136" cy="786136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5AEA0417-C1CB-42B6-9D3B-A3DC3FBA9D8B}"/>
                </a:ext>
              </a:extLst>
            </p:cNvPr>
            <p:cNvSpPr/>
            <p:nvPr/>
          </p:nvSpPr>
          <p:spPr>
            <a:xfrm>
              <a:off x="869208" y="2145890"/>
              <a:ext cx="786136" cy="786136"/>
            </a:xfrm>
            <a:prstGeom prst="ellipse">
              <a:avLst/>
            </a:prstGeom>
            <a:solidFill>
              <a:schemeClr val="accent5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25DE6429-34EB-4EFA-988B-8E3D55B3A2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85162" y="2294770"/>
              <a:ext cx="354229" cy="488377"/>
            </a:xfrm>
            <a:custGeom>
              <a:avLst/>
              <a:gdLst>
                <a:gd name="connsiteX0" fmla="*/ 205353 w 477527"/>
                <a:gd name="connsiteY0" fmla="*/ 537280 h 658369"/>
                <a:gd name="connsiteX1" fmla="*/ 357418 w 477527"/>
                <a:gd name="connsiteY1" fmla="*/ 537280 h 658369"/>
                <a:gd name="connsiteX2" fmla="*/ 367062 w 477527"/>
                <a:gd name="connsiteY2" fmla="*/ 546924 h 658369"/>
                <a:gd name="connsiteX3" fmla="*/ 357418 w 477527"/>
                <a:gd name="connsiteY3" fmla="*/ 556568 h 658369"/>
                <a:gd name="connsiteX4" fmla="*/ 205353 w 477527"/>
                <a:gd name="connsiteY4" fmla="*/ 556568 h 658369"/>
                <a:gd name="connsiteX5" fmla="*/ 195709 w 477527"/>
                <a:gd name="connsiteY5" fmla="*/ 546924 h 658369"/>
                <a:gd name="connsiteX6" fmla="*/ 205353 w 477527"/>
                <a:gd name="connsiteY6" fmla="*/ 537280 h 658369"/>
                <a:gd name="connsiteX7" fmla="*/ 122414 w 477527"/>
                <a:gd name="connsiteY7" fmla="*/ 508252 h 658369"/>
                <a:gd name="connsiteX8" fmla="*/ 117180 w 477527"/>
                <a:gd name="connsiteY8" fmla="*/ 513486 h 658369"/>
                <a:gd name="connsiteX9" fmla="*/ 117180 w 477527"/>
                <a:gd name="connsiteY9" fmla="*/ 545723 h 658369"/>
                <a:gd name="connsiteX10" fmla="*/ 122414 w 477527"/>
                <a:gd name="connsiteY10" fmla="*/ 550957 h 658369"/>
                <a:gd name="connsiteX11" fmla="*/ 154652 w 477527"/>
                <a:gd name="connsiteY11" fmla="*/ 550957 h 658369"/>
                <a:gd name="connsiteX12" fmla="*/ 159885 w 477527"/>
                <a:gd name="connsiteY12" fmla="*/ 545723 h 658369"/>
                <a:gd name="connsiteX13" fmla="*/ 159885 w 477527"/>
                <a:gd name="connsiteY13" fmla="*/ 513486 h 658369"/>
                <a:gd name="connsiteX14" fmla="*/ 154652 w 477527"/>
                <a:gd name="connsiteY14" fmla="*/ 508252 h 658369"/>
                <a:gd name="connsiteX15" fmla="*/ 205353 w 477527"/>
                <a:gd name="connsiteY15" fmla="*/ 502637 h 658369"/>
                <a:gd name="connsiteX16" fmla="*/ 285595 w 477527"/>
                <a:gd name="connsiteY16" fmla="*/ 502637 h 658369"/>
                <a:gd name="connsiteX17" fmla="*/ 295240 w 477527"/>
                <a:gd name="connsiteY17" fmla="*/ 512281 h 658369"/>
                <a:gd name="connsiteX18" fmla="*/ 285595 w 477527"/>
                <a:gd name="connsiteY18" fmla="*/ 521925 h 658369"/>
                <a:gd name="connsiteX19" fmla="*/ 205353 w 477527"/>
                <a:gd name="connsiteY19" fmla="*/ 521925 h 658369"/>
                <a:gd name="connsiteX20" fmla="*/ 195709 w 477527"/>
                <a:gd name="connsiteY20" fmla="*/ 512281 h 658369"/>
                <a:gd name="connsiteX21" fmla="*/ 205353 w 477527"/>
                <a:gd name="connsiteY21" fmla="*/ 502637 h 658369"/>
                <a:gd name="connsiteX22" fmla="*/ 122414 w 477527"/>
                <a:gd name="connsiteY22" fmla="*/ 488959 h 658369"/>
                <a:gd name="connsiteX23" fmla="*/ 154652 w 477527"/>
                <a:gd name="connsiteY23" fmla="*/ 488959 h 658369"/>
                <a:gd name="connsiteX24" fmla="*/ 179174 w 477527"/>
                <a:gd name="connsiteY24" fmla="*/ 513486 h 658369"/>
                <a:gd name="connsiteX25" fmla="*/ 179174 w 477527"/>
                <a:gd name="connsiteY25" fmla="*/ 545719 h 658369"/>
                <a:gd name="connsiteX26" fmla="*/ 154652 w 477527"/>
                <a:gd name="connsiteY26" fmla="*/ 570246 h 658369"/>
                <a:gd name="connsiteX27" fmla="*/ 122414 w 477527"/>
                <a:gd name="connsiteY27" fmla="*/ 570246 h 658369"/>
                <a:gd name="connsiteX28" fmla="*/ 97892 w 477527"/>
                <a:gd name="connsiteY28" fmla="*/ 545719 h 658369"/>
                <a:gd name="connsiteX29" fmla="*/ 97892 w 477527"/>
                <a:gd name="connsiteY29" fmla="*/ 513486 h 658369"/>
                <a:gd name="connsiteX30" fmla="*/ 122414 w 477527"/>
                <a:gd name="connsiteY30" fmla="*/ 488959 h 658369"/>
                <a:gd name="connsiteX31" fmla="*/ 205353 w 477527"/>
                <a:gd name="connsiteY31" fmla="*/ 444044 h 658369"/>
                <a:gd name="connsiteX32" fmla="*/ 357418 w 477527"/>
                <a:gd name="connsiteY32" fmla="*/ 444044 h 658369"/>
                <a:gd name="connsiteX33" fmla="*/ 367062 w 477527"/>
                <a:gd name="connsiteY33" fmla="*/ 453688 h 658369"/>
                <a:gd name="connsiteX34" fmla="*/ 357418 w 477527"/>
                <a:gd name="connsiteY34" fmla="*/ 463332 h 658369"/>
                <a:gd name="connsiteX35" fmla="*/ 205353 w 477527"/>
                <a:gd name="connsiteY35" fmla="*/ 463332 h 658369"/>
                <a:gd name="connsiteX36" fmla="*/ 195709 w 477527"/>
                <a:gd name="connsiteY36" fmla="*/ 453688 h 658369"/>
                <a:gd name="connsiteX37" fmla="*/ 205353 w 477527"/>
                <a:gd name="connsiteY37" fmla="*/ 444044 h 658369"/>
                <a:gd name="connsiteX38" fmla="*/ 122414 w 477527"/>
                <a:gd name="connsiteY38" fmla="*/ 415011 h 658369"/>
                <a:gd name="connsiteX39" fmla="*/ 117180 w 477527"/>
                <a:gd name="connsiteY39" fmla="*/ 420245 h 658369"/>
                <a:gd name="connsiteX40" fmla="*/ 117180 w 477527"/>
                <a:gd name="connsiteY40" fmla="*/ 452483 h 658369"/>
                <a:gd name="connsiteX41" fmla="*/ 122414 w 477527"/>
                <a:gd name="connsiteY41" fmla="*/ 457716 h 658369"/>
                <a:gd name="connsiteX42" fmla="*/ 154652 w 477527"/>
                <a:gd name="connsiteY42" fmla="*/ 457716 h 658369"/>
                <a:gd name="connsiteX43" fmla="*/ 159885 w 477527"/>
                <a:gd name="connsiteY43" fmla="*/ 452483 h 658369"/>
                <a:gd name="connsiteX44" fmla="*/ 159885 w 477527"/>
                <a:gd name="connsiteY44" fmla="*/ 420245 h 658369"/>
                <a:gd name="connsiteX45" fmla="*/ 154652 w 477527"/>
                <a:gd name="connsiteY45" fmla="*/ 415011 h 658369"/>
                <a:gd name="connsiteX46" fmla="*/ 205353 w 477527"/>
                <a:gd name="connsiteY46" fmla="*/ 409401 h 658369"/>
                <a:gd name="connsiteX47" fmla="*/ 285595 w 477527"/>
                <a:gd name="connsiteY47" fmla="*/ 409401 h 658369"/>
                <a:gd name="connsiteX48" fmla="*/ 295240 w 477527"/>
                <a:gd name="connsiteY48" fmla="*/ 419045 h 658369"/>
                <a:gd name="connsiteX49" fmla="*/ 285595 w 477527"/>
                <a:gd name="connsiteY49" fmla="*/ 428689 h 658369"/>
                <a:gd name="connsiteX50" fmla="*/ 205353 w 477527"/>
                <a:gd name="connsiteY50" fmla="*/ 428689 h 658369"/>
                <a:gd name="connsiteX51" fmla="*/ 195709 w 477527"/>
                <a:gd name="connsiteY51" fmla="*/ 419045 h 658369"/>
                <a:gd name="connsiteX52" fmla="*/ 205353 w 477527"/>
                <a:gd name="connsiteY52" fmla="*/ 409401 h 658369"/>
                <a:gd name="connsiteX53" fmla="*/ 122414 w 477527"/>
                <a:gd name="connsiteY53" fmla="*/ 395723 h 658369"/>
                <a:gd name="connsiteX54" fmla="*/ 154652 w 477527"/>
                <a:gd name="connsiteY54" fmla="*/ 395723 h 658369"/>
                <a:gd name="connsiteX55" fmla="*/ 179174 w 477527"/>
                <a:gd name="connsiteY55" fmla="*/ 420245 h 658369"/>
                <a:gd name="connsiteX56" fmla="*/ 179174 w 477527"/>
                <a:gd name="connsiteY56" fmla="*/ 452483 h 658369"/>
                <a:gd name="connsiteX57" fmla="*/ 154652 w 477527"/>
                <a:gd name="connsiteY57" fmla="*/ 477004 h 658369"/>
                <a:gd name="connsiteX58" fmla="*/ 122414 w 477527"/>
                <a:gd name="connsiteY58" fmla="*/ 477004 h 658369"/>
                <a:gd name="connsiteX59" fmla="*/ 97892 w 477527"/>
                <a:gd name="connsiteY59" fmla="*/ 452483 h 658369"/>
                <a:gd name="connsiteX60" fmla="*/ 97892 w 477527"/>
                <a:gd name="connsiteY60" fmla="*/ 420245 h 658369"/>
                <a:gd name="connsiteX61" fmla="*/ 122414 w 477527"/>
                <a:gd name="connsiteY61" fmla="*/ 395723 h 658369"/>
                <a:gd name="connsiteX62" fmla="*/ 467882 w 477527"/>
                <a:gd name="connsiteY62" fmla="*/ 374651 h 658369"/>
                <a:gd name="connsiteX63" fmla="*/ 477526 w 477527"/>
                <a:gd name="connsiteY63" fmla="*/ 384295 h 658369"/>
                <a:gd name="connsiteX64" fmla="*/ 477526 w 477527"/>
                <a:gd name="connsiteY64" fmla="*/ 612278 h 658369"/>
                <a:gd name="connsiteX65" fmla="*/ 431437 w 477527"/>
                <a:gd name="connsiteY65" fmla="*/ 658369 h 658369"/>
                <a:gd name="connsiteX66" fmla="*/ 261269 w 477527"/>
                <a:gd name="connsiteY66" fmla="*/ 658369 h 658369"/>
                <a:gd name="connsiteX67" fmla="*/ 251625 w 477527"/>
                <a:gd name="connsiteY67" fmla="*/ 648725 h 658369"/>
                <a:gd name="connsiteX68" fmla="*/ 261269 w 477527"/>
                <a:gd name="connsiteY68" fmla="*/ 639081 h 658369"/>
                <a:gd name="connsiteX69" fmla="*/ 431437 w 477527"/>
                <a:gd name="connsiteY69" fmla="*/ 639081 h 658369"/>
                <a:gd name="connsiteX70" fmla="*/ 458238 w 477527"/>
                <a:gd name="connsiteY70" fmla="*/ 612278 h 658369"/>
                <a:gd name="connsiteX71" fmla="*/ 458238 w 477527"/>
                <a:gd name="connsiteY71" fmla="*/ 384295 h 658369"/>
                <a:gd name="connsiteX72" fmla="*/ 467882 w 477527"/>
                <a:gd name="connsiteY72" fmla="*/ 374651 h 658369"/>
                <a:gd name="connsiteX73" fmla="*/ 205353 w 477527"/>
                <a:gd name="connsiteY73" fmla="*/ 350807 h 658369"/>
                <a:gd name="connsiteX74" fmla="*/ 357418 w 477527"/>
                <a:gd name="connsiteY74" fmla="*/ 350807 h 658369"/>
                <a:gd name="connsiteX75" fmla="*/ 367062 w 477527"/>
                <a:gd name="connsiteY75" fmla="*/ 360451 h 658369"/>
                <a:gd name="connsiteX76" fmla="*/ 357418 w 477527"/>
                <a:gd name="connsiteY76" fmla="*/ 370095 h 658369"/>
                <a:gd name="connsiteX77" fmla="*/ 205353 w 477527"/>
                <a:gd name="connsiteY77" fmla="*/ 370095 h 658369"/>
                <a:gd name="connsiteX78" fmla="*/ 195709 w 477527"/>
                <a:gd name="connsiteY78" fmla="*/ 360451 h 658369"/>
                <a:gd name="connsiteX79" fmla="*/ 205353 w 477527"/>
                <a:gd name="connsiteY79" fmla="*/ 350807 h 658369"/>
                <a:gd name="connsiteX80" fmla="*/ 122620 w 477527"/>
                <a:gd name="connsiteY80" fmla="*/ 321775 h 658369"/>
                <a:gd name="connsiteX81" fmla="*/ 117391 w 477527"/>
                <a:gd name="connsiteY81" fmla="*/ 327010 h 658369"/>
                <a:gd name="connsiteX82" fmla="*/ 117391 w 477527"/>
                <a:gd name="connsiteY82" fmla="*/ 359247 h 658369"/>
                <a:gd name="connsiteX83" fmla="*/ 122620 w 477527"/>
                <a:gd name="connsiteY83" fmla="*/ 364480 h 658369"/>
                <a:gd name="connsiteX84" fmla="*/ 154858 w 477527"/>
                <a:gd name="connsiteY84" fmla="*/ 364480 h 658369"/>
                <a:gd name="connsiteX85" fmla="*/ 160091 w 477527"/>
                <a:gd name="connsiteY85" fmla="*/ 359247 h 658369"/>
                <a:gd name="connsiteX86" fmla="*/ 160091 w 477527"/>
                <a:gd name="connsiteY86" fmla="*/ 327010 h 658369"/>
                <a:gd name="connsiteX87" fmla="*/ 154858 w 477527"/>
                <a:gd name="connsiteY87" fmla="*/ 321775 h 658369"/>
                <a:gd name="connsiteX88" fmla="*/ 205353 w 477527"/>
                <a:gd name="connsiteY88" fmla="*/ 316159 h 658369"/>
                <a:gd name="connsiteX89" fmla="*/ 285595 w 477527"/>
                <a:gd name="connsiteY89" fmla="*/ 316159 h 658369"/>
                <a:gd name="connsiteX90" fmla="*/ 295240 w 477527"/>
                <a:gd name="connsiteY90" fmla="*/ 325808 h 658369"/>
                <a:gd name="connsiteX91" fmla="*/ 285595 w 477527"/>
                <a:gd name="connsiteY91" fmla="*/ 335452 h 658369"/>
                <a:gd name="connsiteX92" fmla="*/ 205353 w 477527"/>
                <a:gd name="connsiteY92" fmla="*/ 335452 h 658369"/>
                <a:gd name="connsiteX93" fmla="*/ 195709 w 477527"/>
                <a:gd name="connsiteY93" fmla="*/ 325808 h 658369"/>
                <a:gd name="connsiteX94" fmla="*/ 205353 w 477527"/>
                <a:gd name="connsiteY94" fmla="*/ 316159 h 658369"/>
                <a:gd name="connsiteX95" fmla="*/ 122620 w 477527"/>
                <a:gd name="connsiteY95" fmla="*/ 302487 h 658369"/>
                <a:gd name="connsiteX96" fmla="*/ 154858 w 477527"/>
                <a:gd name="connsiteY96" fmla="*/ 302487 h 658369"/>
                <a:gd name="connsiteX97" fmla="*/ 179379 w 477527"/>
                <a:gd name="connsiteY97" fmla="*/ 327010 h 658369"/>
                <a:gd name="connsiteX98" fmla="*/ 179379 w 477527"/>
                <a:gd name="connsiteY98" fmla="*/ 359247 h 658369"/>
                <a:gd name="connsiteX99" fmla="*/ 154858 w 477527"/>
                <a:gd name="connsiteY99" fmla="*/ 383768 h 658369"/>
                <a:gd name="connsiteX100" fmla="*/ 122620 w 477527"/>
                <a:gd name="connsiteY100" fmla="*/ 383768 h 658369"/>
                <a:gd name="connsiteX101" fmla="*/ 98098 w 477527"/>
                <a:gd name="connsiteY101" fmla="*/ 359247 h 658369"/>
                <a:gd name="connsiteX102" fmla="*/ 98098 w 477527"/>
                <a:gd name="connsiteY102" fmla="*/ 327010 h 658369"/>
                <a:gd name="connsiteX103" fmla="*/ 122620 w 477527"/>
                <a:gd name="connsiteY103" fmla="*/ 302487 h 658369"/>
                <a:gd name="connsiteX104" fmla="*/ 205353 w 477527"/>
                <a:gd name="connsiteY104" fmla="*/ 257572 h 658369"/>
                <a:gd name="connsiteX105" fmla="*/ 357418 w 477527"/>
                <a:gd name="connsiteY105" fmla="*/ 257572 h 658369"/>
                <a:gd name="connsiteX106" fmla="*/ 367062 w 477527"/>
                <a:gd name="connsiteY106" fmla="*/ 267216 h 658369"/>
                <a:gd name="connsiteX107" fmla="*/ 357418 w 477527"/>
                <a:gd name="connsiteY107" fmla="*/ 276860 h 658369"/>
                <a:gd name="connsiteX108" fmla="*/ 205353 w 477527"/>
                <a:gd name="connsiteY108" fmla="*/ 276860 h 658369"/>
                <a:gd name="connsiteX109" fmla="*/ 195709 w 477527"/>
                <a:gd name="connsiteY109" fmla="*/ 267216 h 658369"/>
                <a:gd name="connsiteX110" fmla="*/ 205353 w 477527"/>
                <a:gd name="connsiteY110" fmla="*/ 257572 h 658369"/>
                <a:gd name="connsiteX111" fmla="*/ 122620 w 477527"/>
                <a:gd name="connsiteY111" fmla="*/ 228538 h 658369"/>
                <a:gd name="connsiteX112" fmla="*/ 117391 w 477527"/>
                <a:gd name="connsiteY112" fmla="*/ 233773 h 658369"/>
                <a:gd name="connsiteX113" fmla="*/ 117391 w 477527"/>
                <a:gd name="connsiteY113" fmla="*/ 266010 h 658369"/>
                <a:gd name="connsiteX114" fmla="*/ 122620 w 477527"/>
                <a:gd name="connsiteY114" fmla="*/ 271243 h 658369"/>
                <a:gd name="connsiteX115" fmla="*/ 154858 w 477527"/>
                <a:gd name="connsiteY115" fmla="*/ 271243 h 658369"/>
                <a:gd name="connsiteX116" fmla="*/ 160091 w 477527"/>
                <a:gd name="connsiteY116" fmla="*/ 266010 h 658369"/>
                <a:gd name="connsiteX117" fmla="*/ 160091 w 477527"/>
                <a:gd name="connsiteY117" fmla="*/ 253759 h 658369"/>
                <a:gd name="connsiteX118" fmla="*/ 148613 w 477527"/>
                <a:gd name="connsiteY118" fmla="*/ 264985 h 658369"/>
                <a:gd name="connsiteX119" fmla="*/ 134876 w 477527"/>
                <a:gd name="connsiteY119" fmla="*/ 264729 h 658369"/>
                <a:gd name="connsiteX120" fmla="*/ 122062 w 477527"/>
                <a:gd name="connsiteY120" fmla="*/ 251233 h 658369"/>
                <a:gd name="connsiteX121" fmla="*/ 122414 w 477527"/>
                <a:gd name="connsiteY121" fmla="*/ 237595 h 658369"/>
                <a:gd name="connsiteX122" fmla="*/ 136052 w 477527"/>
                <a:gd name="connsiteY122" fmla="*/ 237952 h 658369"/>
                <a:gd name="connsiteX123" fmla="*/ 142124 w 477527"/>
                <a:gd name="connsiteY123" fmla="*/ 244350 h 658369"/>
                <a:gd name="connsiteX124" fmla="*/ 157504 w 477527"/>
                <a:gd name="connsiteY124" fmla="*/ 229307 h 658369"/>
                <a:gd name="connsiteX125" fmla="*/ 154858 w 477527"/>
                <a:gd name="connsiteY125" fmla="*/ 228538 h 658369"/>
                <a:gd name="connsiteX126" fmla="*/ 205353 w 477527"/>
                <a:gd name="connsiteY126" fmla="*/ 222923 h 658369"/>
                <a:gd name="connsiteX127" fmla="*/ 285595 w 477527"/>
                <a:gd name="connsiteY127" fmla="*/ 222923 h 658369"/>
                <a:gd name="connsiteX128" fmla="*/ 295240 w 477527"/>
                <a:gd name="connsiteY128" fmla="*/ 232567 h 658369"/>
                <a:gd name="connsiteX129" fmla="*/ 285595 w 477527"/>
                <a:gd name="connsiteY129" fmla="*/ 242216 h 658369"/>
                <a:gd name="connsiteX130" fmla="*/ 205353 w 477527"/>
                <a:gd name="connsiteY130" fmla="*/ 242216 h 658369"/>
                <a:gd name="connsiteX131" fmla="*/ 195709 w 477527"/>
                <a:gd name="connsiteY131" fmla="*/ 232567 h 658369"/>
                <a:gd name="connsiteX132" fmla="*/ 205353 w 477527"/>
                <a:gd name="connsiteY132" fmla="*/ 222923 h 658369"/>
                <a:gd name="connsiteX133" fmla="*/ 122620 w 477527"/>
                <a:gd name="connsiteY133" fmla="*/ 209250 h 658369"/>
                <a:gd name="connsiteX134" fmla="*/ 154858 w 477527"/>
                <a:gd name="connsiteY134" fmla="*/ 209250 h 658369"/>
                <a:gd name="connsiteX135" fmla="*/ 171398 w 477527"/>
                <a:gd name="connsiteY135" fmla="*/ 215720 h 658369"/>
                <a:gd name="connsiteX136" fmla="*/ 171624 w 477527"/>
                <a:gd name="connsiteY136" fmla="*/ 215494 h 658369"/>
                <a:gd name="connsiteX137" fmla="*/ 185266 w 477527"/>
                <a:gd name="connsiteY137" fmla="*/ 215645 h 658369"/>
                <a:gd name="connsiteX138" fmla="*/ 185116 w 477527"/>
                <a:gd name="connsiteY138" fmla="*/ 229283 h 658369"/>
                <a:gd name="connsiteX139" fmla="*/ 179379 w 477527"/>
                <a:gd name="connsiteY139" fmla="*/ 234893 h 658369"/>
                <a:gd name="connsiteX140" fmla="*/ 179379 w 477527"/>
                <a:gd name="connsiteY140" fmla="*/ 266010 h 658369"/>
                <a:gd name="connsiteX141" fmla="*/ 154858 w 477527"/>
                <a:gd name="connsiteY141" fmla="*/ 290531 h 658369"/>
                <a:gd name="connsiteX142" fmla="*/ 122620 w 477527"/>
                <a:gd name="connsiteY142" fmla="*/ 290531 h 658369"/>
                <a:gd name="connsiteX143" fmla="*/ 98098 w 477527"/>
                <a:gd name="connsiteY143" fmla="*/ 266010 h 658369"/>
                <a:gd name="connsiteX144" fmla="*/ 98098 w 477527"/>
                <a:gd name="connsiteY144" fmla="*/ 233773 h 658369"/>
                <a:gd name="connsiteX145" fmla="*/ 122620 w 477527"/>
                <a:gd name="connsiteY145" fmla="*/ 209250 h 658369"/>
                <a:gd name="connsiteX146" fmla="*/ 191932 w 477527"/>
                <a:gd name="connsiteY146" fmla="*/ 164557 h 658369"/>
                <a:gd name="connsiteX147" fmla="*/ 285595 w 477527"/>
                <a:gd name="connsiteY147" fmla="*/ 164557 h 658369"/>
                <a:gd name="connsiteX148" fmla="*/ 295239 w 477527"/>
                <a:gd name="connsiteY148" fmla="*/ 174201 h 658369"/>
                <a:gd name="connsiteX149" fmla="*/ 285595 w 477527"/>
                <a:gd name="connsiteY149" fmla="*/ 183845 h 658369"/>
                <a:gd name="connsiteX150" fmla="*/ 191932 w 477527"/>
                <a:gd name="connsiteY150" fmla="*/ 183845 h 658369"/>
                <a:gd name="connsiteX151" fmla="*/ 182288 w 477527"/>
                <a:gd name="connsiteY151" fmla="*/ 174201 h 658369"/>
                <a:gd name="connsiteX152" fmla="*/ 191932 w 477527"/>
                <a:gd name="connsiteY152" fmla="*/ 164557 h 658369"/>
                <a:gd name="connsiteX153" fmla="*/ 59783 w 477527"/>
                <a:gd name="connsiteY153" fmla="*/ 122525 h 658369"/>
                <a:gd name="connsiteX154" fmla="*/ 59783 w 477527"/>
                <a:gd name="connsiteY154" fmla="*/ 598585 h 658369"/>
                <a:gd name="connsiteX155" fmla="*/ 417744 w 477527"/>
                <a:gd name="connsiteY155" fmla="*/ 598585 h 658369"/>
                <a:gd name="connsiteX156" fmla="*/ 417744 w 477527"/>
                <a:gd name="connsiteY156" fmla="*/ 122525 h 658369"/>
                <a:gd name="connsiteX157" fmla="*/ 334128 w 477527"/>
                <a:gd name="connsiteY157" fmla="*/ 122525 h 658369"/>
                <a:gd name="connsiteX158" fmla="*/ 314603 w 477527"/>
                <a:gd name="connsiteY158" fmla="*/ 138748 h 658369"/>
                <a:gd name="connsiteX159" fmla="*/ 162924 w 477527"/>
                <a:gd name="connsiteY159" fmla="*/ 138748 h 658369"/>
                <a:gd name="connsiteX160" fmla="*/ 143401 w 477527"/>
                <a:gd name="connsiteY160" fmla="*/ 122525 h 658369"/>
                <a:gd name="connsiteX161" fmla="*/ 191932 w 477527"/>
                <a:gd name="connsiteY161" fmla="*/ 86053 h 658369"/>
                <a:gd name="connsiteX162" fmla="*/ 285595 w 477527"/>
                <a:gd name="connsiteY162" fmla="*/ 86053 h 658369"/>
                <a:gd name="connsiteX163" fmla="*/ 295239 w 477527"/>
                <a:gd name="connsiteY163" fmla="*/ 95697 h 658369"/>
                <a:gd name="connsiteX164" fmla="*/ 285595 w 477527"/>
                <a:gd name="connsiteY164" fmla="*/ 105341 h 658369"/>
                <a:gd name="connsiteX165" fmla="*/ 191932 w 477527"/>
                <a:gd name="connsiteY165" fmla="*/ 105341 h 658369"/>
                <a:gd name="connsiteX166" fmla="*/ 182288 w 477527"/>
                <a:gd name="connsiteY166" fmla="*/ 95697 h 658369"/>
                <a:gd name="connsiteX167" fmla="*/ 191932 w 477527"/>
                <a:gd name="connsiteY167" fmla="*/ 86053 h 658369"/>
                <a:gd name="connsiteX168" fmla="*/ 162924 w 477527"/>
                <a:gd name="connsiteY168" fmla="*/ 71934 h 658369"/>
                <a:gd name="connsiteX169" fmla="*/ 162357 w 477527"/>
                <a:gd name="connsiteY169" fmla="*/ 72496 h 658369"/>
                <a:gd name="connsiteX170" fmla="*/ 162357 w 477527"/>
                <a:gd name="connsiteY170" fmla="*/ 72637 h 658369"/>
                <a:gd name="connsiteX171" fmla="*/ 162362 w 477527"/>
                <a:gd name="connsiteY171" fmla="*/ 72707 h 658369"/>
                <a:gd name="connsiteX172" fmla="*/ 162357 w 477527"/>
                <a:gd name="connsiteY172" fmla="*/ 72732 h 658369"/>
                <a:gd name="connsiteX173" fmla="*/ 162357 w 477527"/>
                <a:gd name="connsiteY173" fmla="*/ 118893 h 658369"/>
                <a:gd name="connsiteX174" fmla="*/ 162924 w 477527"/>
                <a:gd name="connsiteY174" fmla="*/ 119461 h 658369"/>
                <a:gd name="connsiteX175" fmla="*/ 314608 w 477527"/>
                <a:gd name="connsiteY175" fmla="*/ 119461 h 658369"/>
                <a:gd name="connsiteX176" fmla="*/ 315172 w 477527"/>
                <a:gd name="connsiteY176" fmla="*/ 118893 h 658369"/>
                <a:gd name="connsiteX177" fmla="*/ 315172 w 477527"/>
                <a:gd name="connsiteY177" fmla="*/ 72687 h 658369"/>
                <a:gd name="connsiteX178" fmla="*/ 315166 w 477527"/>
                <a:gd name="connsiteY178" fmla="*/ 72481 h 658369"/>
                <a:gd name="connsiteX179" fmla="*/ 314603 w 477527"/>
                <a:gd name="connsiteY179" fmla="*/ 71934 h 658369"/>
                <a:gd name="connsiteX180" fmla="*/ 238766 w 477527"/>
                <a:gd name="connsiteY180" fmla="*/ 19288 h 658369"/>
                <a:gd name="connsiteX181" fmla="*/ 215003 w 477527"/>
                <a:gd name="connsiteY181" fmla="*/ 43052 h 658369"/>
                <a:gd name="connsiteX182" fmla="*/ 215003 w 477527"/>
                <a:gd name="connsiteY182" fmla="*/ 52645 h 658369"/>
                <a:gd name="connsiteX183" fmla="*/ 262525 w 477527"/>
                <a:gd name="connsiteY183" fmla="*/ 52645 h 658369"/>
                <a:gd name="connsiteX184" fmla="*/ 262525 w 477527"/>
                <a:gd name="connsiteY184" fmla="*/ 43052 h 658369"/>
                <a:gd name="connsiteX185" fmla="*/ 238766 w 477527"/>
                <a:gd name="connsiteY185" fmla="*/ 19288 h 658369"/>
                <a:gd name="connsiteX186" fmla="*/ 238766 w 477527"/>
                <a:gd name="connsiteY186" fmla="*/ 0 h 658369"/>
                <a:gd name="connsiteX187" fmla="*/ 281818 w 477527"/>
                <a:gd name="connsiteY187" fmla="*/ 43052 h 658369"/>
                <a:gd name="connsiteX188" fmla="*/ 281818 w 477527"/>
                <a:gd name="connsiteY188" fmla="*/ 52640 h 658369"/>
                <a:gd name="connsiteX189" fmla="*/ 314603 w 477527"/>
                <a:gd name="connsiteY189" fmla="*/ 52640 h 658369"/>
                <a:gd name="connsiteX190" fmla="*/ 331878 w 477527"/>
                <a:gd name="connsiteY190" fmla="*/ 62742 h 658369"/>
                <a:gd name="connsiteX191" fmla="*/ 431438 w 477527"/>
                <a:gd name="connsiteY191" fmla="*/ 62742 h 658369"/>
                <a:gd name="connsiteX192" fmla="*/ 477527 w 477527"/>
                <a:gd name="connsiteY192" fmla="*/ 108832 h 658369"/>
                <a:gd name="connsiteX193" fmla="*/ 477527 w 477527"/>
                <a:gd name="connsiteY193" fmla="*/ 339285 h 658369"/>
                <a:gd name="connsiteX194" fmla="*/ 467883 w 477527"/>
                <a:gd name="connsiteY194" fmla="*/ 348934 h 658369"/>
                <a:gd name="connsiteX195" fmla="*/ 458239 w 477527"/>
                <a:gd name="connsiteY195" fmla="*/ 339285 h 658369"/>
                <a:gd name="connsiteX196" fmla="*/ 458239 w 477527"/>
                <a:gd name="connsiteY196" fmla="*/ 108832 h 658369"/>
                <a:gd name="connsiteX197" fmla="*/ 431438 w 477527"/>
                <a:gd name="connsiteY197" fmla="*/ 82030 h 658369"/>
                <a:gd name="connsiteX198" fmla="*/ 334460 w 477527"/>
                <a:gd name="connsiteY198" fmla="*/ 82030 h 658369"/>
                <a:gd name="connsiteX199" fmla="*/ 334460 w 477527"/>
                <a:gd name="connsiteY199" fmla="*/ 103237 h 658369"/>
                <a:gd name="connsiteX200" fmla="*/ 424144 w 477527"/>
                <a:gd name="connsiteY200" fmla="*/ 103237 h 658369"/>
                <a:gd name="connsiteX201" fmla="*/ 437033 w 477527"/>
                <a:gd name="connsiteY201" fmla="*/ 116121 h 658369"/>
                <a:gd name="connsiteX202" fmla="*/ 437033 w 477527"/>
                <a:gd name="connsiteY202" fmla="*/ 604989 h 658369"/>
                <a:gd name="connsiteX203" fmla="*/ 424144 w 477527"/>
                <a:gd name="connsiteY203" fmla="*/ 617873 h 658369"/>
                <a:gd name="connsiteX204" fmla="*/ 53384 w 477527"/>
                <a:gd name="connsiteY204" fmla="*/ 617873 h 658369"/>
                <a:gd name="connsiteX205" fmla="*/ 40495 w 477527"/>
                <a:gd name="connsiteY205" fmla="*/ 604989 h 658369"/>
                <a:gd name="connsiteX206" fmla="*/ 40495 w 477527"/>
                <a:gd name="connsiteY206" fmla="*/ 116121 h 658369"/>
                <a:gd name="connsiteX207" fmla="*/ 53384 w 477527"/>
                <a:gd name="connsiteY207" fmla="*/ 103237 h 658369"/>
                <a:gd name="connsiteX208" fmla="*/ 143069 w 477527"/>
                <a:gd name="connsiteY208" fmla="*/ 103237 h 658369"/>
                <a:gd name="connsiteX209" fmla="*/ 143069 w 477527"/>
                <a:gd name="connsiteY209" fmla="*/ 82030 h 658369"/>
                <a:gd name="connsiteX210" fmla="*/ 46091 w 477527"/>
                <a:gd name="connsiteY210" fmla="*/ 82030 h 658369"/>
                <a:gd name="connsiteX211" fmla="*/ 19288 w 477527"/>
                <a:gd name="connsiteY211" fmla="*/ 108832 h 658369"/>
                <a:gd name="connsiteX212" fmla="*/ 19288 w 477527"/>
                <a:gd name="connsiteY212" fmla="*/ 612277 h 658369"/>
                <a:gd name="connsiteX213" fmla="*/ 46091 w 477527"/>
                <a:gd name="connsiteY213" fmla="*/ 639080 h 658369"/>
                <a:gd name="connsiteX214" fmla="*/ 216259 w 477527"/>
                <a:gd name="connsiteY214" fmla="*/ 639080 h 658369"/>
                <a:gd name="connsiteX215" fmla="*/ 225903 w 477527"/>
                <a:gd name="connsiteY215" fmla="*/ 648724 h 658369"/>
                <a:gd name="connsiteX216" fmla="*/ 216259 w 477527"/>
                <a:gd name="connsiteY216" fmla="*/ 658368 h 658369"/>
                <a:gd name="connsiteX217" fmla="*/ 46091 w 477527"/>
                <a:gd name="connsiteY217" fmla="*/ 658368 h 658369"/>
                <a:gd name="connsiteX218" fmla="*/ 0 w 477527"/>
                <a:gd name="connsiteY218" fmla="*/ 612277 h 658369"/>
                <a:gd name="connsiteX219" fmla="*/ 0 w 477527"/>
                <a:gd name="connsiteY219" fmla="*/ 108832 h 658369"/>
                <a:gd name="connsiteX220" fmla="*/ 46091 w 477527"/>
                <a:gd name="connsiteY220" fmla="*/ 62742 h 658369"/>
                <a:gd name="connsiteX221" fmla="*/ 145651 w 477527"/>
                <a:gd name="connsiteY221" fmla="*/ 62742 h 658369"/>
                <a:gd name="connsiteX222" fmla="*/ 162924 w 477527"/>
                <a:gd name="connsiteY222" fmla="*/ 52645 h 658369"/>
                <a:gd name="connsiteX223" fmla="*/ 195710 w 477527"/>
                <a:gd name="connsiteY223" fmla="*/ 52645 h 658369"/>
                <a:gd name="connsiteX224" fmla="*/ 195710 w 477527"/>
                <a:gd name="connsiteY224" fmla="*/ 43052 h 658369"/>
                <a:gd name="connsiteX225" fmla="*/ 238766 w 477527"/>
                <a:gd name="connsiteY225" fmla="*/ 0 h 658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</a:cxnLst>
              <a:rect l="l" t="t" r="r" b="b"/>
              <a:pathLst>
                <a:path w="477527" h="658369">
                  <a:moveTo>
                    <a:pt x="205353" y="537280"/>
                  </a:moveTo>
                  <a:lnTo>
                    <a:pt x="357418" y="537280"/>
                  </a:lnTo>
                  <a:cubicBezTo>
                    <a:pt x="362743" y="537280"/>
                    <a:pt x="367062" y="541599"/>
                    <a:pt x="367062" y="546924"/>
                  </a:cubicBezTo>
                  <a:cubicBezTo>
                    <a:pt x="367062" y="552254"/>
                    <a:pt x="362748" y="556568"/>
                    <a:pt x="357418" y="556568"/>
                  </a:cubicBezTo>
                  <a:lnTo>
                    <a:pt x="205353" y="556568"/>
                  </a:lnTo>
                  <a:cubicBezTo>
                    <a:pt x="200030" y="556568"/>
                    <a:pt x="195709" y="552254"/>
                    <a:pt x="195709" y="546924"/>
                  </a:cubicBezTo>
                  <a:cubicBezTo>
                    <a:pt x="195709" y="541599"/>
                    <a:pt x="200030" y="537280"/>
                    <a:pt x="205353" y="537280"/>
                  </a:cubicBezTo>
                  <a:close/>
                  <a:moveTo>
                    <a:pt x="122414" y="508252"/>
                  </a:moveTo>
                  <a:cubicBezTo>
                    <a:pt x="119576" y="508252"/>
                    <a:pt x="117180" y="510648"/>
                    <a:pt x="117180" y="513486"/>
                  </a:cubicBezTo>
                  <a:lnTo>
                    <a:pt x="117180" y="545723"/>
                  </a:lnTo>
                  <a:cubicBezTo>
                    <a:pt x="117180" y="548557"/>
                    <a:pt x="119576" y="550957"/>
                    <a:pt x="122414" y="550957"/>
                  </a:cubicBezTo>
                  <a:lnTo>
                    <a:pt x="154652" y="550957"/>
                  </a:lnTo>
                  <a:cubicBezTo>
                    <a:pt x="157490" y="550957"/>
                    <a:pt x="159885" y="548557"/>
                    <a:pt x="159885" y="545723"/>
                  </a:cubicBezTo>
                  <a:lnTo>
                    <a:pt x="159885" y="513486"/>
                  </a:lnTo>
                  <a:cubicBezTo>
                    <a:pt x="159885" y="510648"/>
                    <a:pt x="157490" y="508252"/>
                    <a:pt x="154652" y="508252"/>
                  </a:cubicBezTo>
                  <a:close/>
                  <a:moveTo>
                    <a:pt x="205353" y="502637"/>
                  </a:moveTo>
                  <a:lnTo>
                    <a:pt x="285595" y="502637"/>
                  </a:lnTo>
                  <a:cubicBezTo>
                    <a:pt x="290924" y="502637"/>
                    <a:pt x="295240" y="506951"/>
                    <a:pt x="295240" y="512281"/>
                  </a:cubicBezTo>
                  <a:cubicBezTo>
                    <a:pt x="295240" y="517605"/>
                    <a:pt x="290924" y="521925"/>
                    <a:pt x="285595" y="521925"/>
                  </a:cubicBezTo>
                  <a:lnTo>
                    <a:pt x="205353" y="521925"/>
                  </a:lnTo>
                  <a:cubicBezTo>
                    <a:pt x="200030" y="521925"/>
                    <a:pt x="195709" y="517605"/>
                    <a:pt x="195709" y="512281"/>
                  </a:cubicBezTo>
                  <a:cubicBezTo>
                    <a:pt x="195709" y="506951"/>
                    <a:pt x="200030" y="502637"/>
                    <a:pt x="205353" y="502637"/>
                  </a:cubicBezTo>
                  <a:close/>
                  <a:moveTo>
                    <a:pt x="122414" y="488959"/>
                  </a:moveTo>
                  <a:lnTo>
                    <a:pt x="154652" y="488959"/>
                  </a:lnTo>
                  <a:cubicBezTo>
                    <a:pt x="168173" y="488959"/>
                    <a:pt x="179174" y="499960"/>
                    <a:pt x="179174" y="513486"/>
                  </a:cubicBezTo>
                  <a:lnTo>
                    <a:pt x="179174" y="545719"/>
                  </a:lnTo>
                  <a:cubicBezTo>
                    <a:pt x="179174" y="559240"/>
                    <a:pt x="168173" y="570246"/>
                    <a:pt x="154652" y="570246"/>
                  </a:cubicBezTo>
                  <a:lnTo>
                    <a:pt x="122414" y="570246"/>
                  </a:lnTo>
                  <a:cubicBezTo>
                    <a:pt x="108892" y="570246"/>
                    <a:pt x="97892" y="559240"/>
                    <a:pt x="97892" y="545719"/>
                  </a:cubicBezTo>
                  <a:lnTo>
                    <a:pt x="97892" y="513486"/>
                  </a:lnTo>
                  <a:cubicBezTo>
                    <a:pt x="97892" y="499960"/>
                    <a:pt x="108892" y="488959"/>
                    <a:pt x="122414" y="488959"/>
                  </a:cubicBezTo>
                  <a:close/>
                  <a:moveTo>
                    <a:pt x="205353" y="444044"/>
                  </a:moveTo>
                  <a:lnTo>
                    <a:pt x="357418" y="444044"/>
                  </a:lnTo>
                  <a:cubicBezTo>
                    <a:pt x="362743" y="444044"/>
                    <a:pt x="367062" y="448364"/>
                    <a:pt x="367062" y="453688"/>
                  </a:cubicBezTo>
                  <a:cubicBezTo>
                    <a:pt x="367062" y="459013"/>
                    <a:pt x="362748" y="463332"/>
                    <a:pt x="357418" y="463332"/>
                  </a:cubicBezTo>
                  <a:lnTo>
                    <a:pt x="205353" y="463332"/>
                  </a:lnTo>
                  <a:cubicBezTo>
                    <a:pt x="200030" y="463332"/>
                    <a:pt x="195709" y="459013"/>
                    <a:pt x="195709" y="453688"/>
                  </a:cubicBezTo>
                  <a:cubicBezTo>
                    <a:pt x="195709" y="448364"/>
                    <a:pt x="200030" y="444044"/>
                    <a:pt x="205353" y="444044"/>
                  </a:cubicBezTo>
                  <a:close/>
                  <a:moveTo>
                    <a:pt x="122414" y="415011"/>
                  </a:moveTo>
                  <a:cubicBezTo>
                    <a:pt x="119576" y="415011"/>
                    <a:pt x="117180" y="417412"/>
                    <a:pt x="117180" y="420245"/>
                  </a:cubicBezTo>
                  <a:lnTo>
                    <a:pt x="117180" y="452483"/>
                  </a:lnTo>
                  <a:cubicBezTo>
                    <a:pt x="117180" y="455321"/>
                    <a:pt x="119576" y="457716"/>
                    <a:pt x="122414" y="457716"/>
                  </a:cubicBezTo>
                  <a:lnTo>
                    <a:pt x="154652" y="457716"/>
                  </a:lnTo>
                  <a:cubicBezTo>
                    <a:pt x="157490" y="457716"/>
                    <a:pt x="159885" y="455321"/>
                    <a:pt x="159885" y="452483"/>
                  </a:cubicBezTo>
                  <a:lnTo>
                    <a:pt x="159885" y="420245"/>
                  </a:lnTo>
                  <a:cubicBezTo>
                    <a:pt x="159885" y="417412"/>
                    <a:pt x="157490" y="415011"/>
                    <a:pt x="154652" y="415011"/>
                  </a:cubicBezTo>
                  <a:close/>
                  <a:moveTo>
                    <a:pt x="205353" y="409401"/>
                  </a:moveTo>
                  <a:lnTo>
                    <a:pt x="285595" y="409401"/>
                  </a:lnTo>
                  <a:cubicBezTo>
                    <a:pt x="290924" y="409401"/>
                    <a:pt x="295240" y="413715"/>
                    <a:pt x="295240" y="419045"/>
                  </a:cubicBezTo>
                  <a:cubicBezTo>
                    <a:pt x="295240" y="424369"/>
                    <a:pt x="290924" y="428689"/>
                    <a:pt x="285595" y="428689"/>
                  </a:cubicBezTo>
                  <a:lnTo>
                    <a:pt x="205353" y="428689"/>
                  </a:lnTo>
                  <a:cubicBezTo>
                    <a:pt x="200030" y="428689"/>
                    <a:pt x="195709" y="424369"/>
                    <a:pt x="195709" y="419045"/>
                  </a:cubicBezTo>
                  <a:cubicBezTo>
                    <a:pt x="195709" y="413715"/>
                    <a:pt x="200030" y="409401"/>
                    <a:pt x="205353" y="409401"/>
                  </a:cubicBezTo>
                  <a:close/>
                  <a:moveTo>
                    <a:pt x="122414" y="395723"/>
                  </a:moveTo>
                  <a:lnTo>
                    <a:pt x="154652" y="395723"/>
                  </a:lnTo>
                  <a:cubicBezTo>
                    <a:pt x="168173" y="395723"/>
                    <a:pt x="179174" y="406724"/>
                    <a:pt x="179174" y="420245"/>
                  </a:cubicBezTo>
                  <a:lnTo>
                    <a:pt x="179174" y="452483"/>
                  </a:lnTo>
                  <a:cubicBezTo>
                    <a:pt x="179174" y="466004"/>
                    <a:pt x="168173" y="477004"/>
                    <a:pt x="154652" y="477004"/>
                  </a:cubicBezTo>
                  <a:lnTo>
                    <a:pt x="122414" y="477004"/>
                  </a:lnTo>
                  <a:cubicBezTo>
                    <a:pt x="108892" y="477004"/>
                    <a:pt x="97892" y="466004"/>
                    <a:pt x="97892" y="452483"/>
                  </a:cubicBezTo>
                  <a:lnTo>
                    <a:pt x="97892" y="420245"/>
                  </a:lnTo>
                  <a:cubicBezTo>
                    <a:pt x="97892" y="406724"/>
                    <a:pt x="108892" y="395723"/>
                    <a:pt x="122414" y="395723"/>
                  </a:cubicBezTo>
                  <a:close/>
                  <a:moveTo>
                    <a:pt x="467882" y="374651"/>
                  </a:moveTo>
                  <a:cubicBezTo>
                    <a:pt x="473207" y="374651"/>
                    <a:pt x="477526" y="378971"/>
                    <a:pt x="477526" y="384295"/>
                  </a:cubicBezTo>
                  <a:lnTo>
                    <a:pt x="477526" y="612278"/>
                  </a:lnTo>
                  <a:cubicBezTo>
                    <a:pt x="477526" y="637694"/>
                    <a:pt x="456852" y="658369"/>
                    <a:pt x="431437" y="658369"/>
                  </a:cubicBezTo>
                  <a:lnTo>
                    <a:pt x="261269" y="658369"/>
                  </a:lnTo>
                  <a:cubicBezTo>
                    <a:pt x="255939" y="658369"/>
                    <a:pt x="251625" y="654049"/>
                    <a:pt x="251625" y="648725"/>
                  </a:cubicBezTo>
                  <a:cubicBezTo>
                    <a:pt x="251625" y="643395"/>
                    <a:pt x="255939" y="639081"/>
                    <a:pt x="261269" y="639081"/>
                  </a:cubicBezTo>
                  <a:lnTo>
                    <a:pt x="431437" y="639081"/>
                  </a:lnTo>
                  <a:cubicBezTo>
                    <a:pt x="446214" y="639081"/>
                    <a:pt x="458238" y="627055"/>
                    <a:pt x="458238" y="612278"/>
                  </a:cubicBezTo>
                  <a:lnTo>
                    <a:pt x="458238" y="384295"/>
                  </a:lnTo>
                  <a:cubicBezTo>
                    <a:pt x="458238" y="378971"/>
                    <a:pt x="462553" y="374651"/>
                    <a:pt x="467882" y="374651"/>
                  </a:cubicBezTo>
                  <a:close/>
                  <a:moveTo>
                    <a:pt x="205353" y="350807"/>
                  </a:moveTo>
                  <a:lnTo>
                    <a:pt x="357418" y="350807"/>
                  </a:lnTo>
                  <a:cubicBezTo>
                    <a:pt x="362743" y="350807"/>
                    <a:pt x="367062" y="355122"/>
                    <a:pt x="367062" y="360451"/>
                  </a:cubicBezTo>
                  <a:cubicBezTo>
                    <a:pt x="367062" y="365776"/>
                    <a:pt x="362748" y="370095"/>
                    <a:pt x="357418" y="370095"/>
                  </a:cubicBezTo>
                  <a:lnTo>
                    <a:pt x="205353" y="370095"/>
                  </a:lnTo>
                  <a:cubicBezTo>
                    <a:pt x="200030" y="370095"/>
                    <a:pt x="195709" y="365776"/>
                    <a:pt x="195709" y="360451"/>
                  </a:cubicBezTo>
                  <a:cubicBezTo>
                    <a:pt x="195709" y="355122"/>
                    <a:pt x="200030" y="350807"/>
                    <a:pt x="205353" y="350807"/>
                  </a:cubicBezTo>
                  <a:close/>
                  <a:moveTo>
                    <a:pt x="122620" y="321775"/>
                  </a:moveTo>
                  <a:cubicBezTo>
                    <a:pt x="119787" y="321775"/>
                    <a:pt x="117391" y="324172"/>
                    <a:pt x="117391" y="327010"/>
                  </a:cubicBezTo>
                  <a:lnTo>
                    <a:pt x="117391" y="359247"/>
                  </a:lnTo>
                  <a:cubicBezTo>
                    <a:pt x="117391" y="362085"/>
                    <a:pt x="119787" y="364480"/>
                    <a:pt x="122620" y="364480"/>
                  </a:cubicBezTo>
                  <a:lnTo>
                    <a:pt x="154858" y="364480"/>
                  </a:lnTo>
                  <a:cubicBezTo>
                    <a:pt x="157696" y="364480"/>
                    <a:pt x="160091" y="362085"/>
                    <a:pt x="160091" y="359247"/>
                  </a:cubicBezTo>
                  <a:lnTo>
                    <a:pt x="160091" y="327010"/>
                  </a:lnTo>
                  <a:cubicBezTo>
                    <a:pt x="160091" y="324172"/>
                    <a:pt x="157696" y="321775"/>
                    <a:pt x="154858" y="321775"/>
                  </a:cubicBezTo>
                  <a:close/>
                  <a:moveTo>
                    <a:pt x="205353" y="316159"/>
                  </a:moveTo>
                  <a:lnTo>
                    <a:pt x="285595" y="316159"/>
                  </a:lnTo>
                  <a:cubicBezTo>
                    <a:pt x="290924" y="316159"/>
                    <a:pt x="295240" y="320478"/>
                    <a:pt x="295240" y="325808"/>
                  </a:cubicBezTo>
                  <a:cubicBezTo>
                    <a:pt x="295240" y="331133"/>
                    <a:pt x="290924" y="335452"/>
                    <a:pt x="285595" y="335452"/>
                  </a:cubicBezTo>
                  <a:lnTo>
                    <a:pt x="205353" y="335452"/>
                  </a:lnTo>
                  <a:cubicBezTo>
                    <a:pt x="200030" y="335452"/>
                    <a:pt x="195709" y="331133"/>
                    <a:pt x="195709" y="325808"/>
                  </a:cubicBezTo>
                  <a:cubicBezTo>
                    <a:pt x="195709" y="320478"/>
                    <a:pt x="200030" y="316159"/>
                    <a:pt x="205353" y="316159"/>
                  </a:cubicBezTo>
                  <a:close/>
                  <a:moveTo>
                    <a:pt x="122620" y="302487"/>
                  </a:moveTo>
                  <a:lnTo>
                    <a:pt x="154858" y="302487"/>
                  </a:lnTo>
                  <a:cubicBezTo>
                    <a:pt x="168379" y="302487"/>
                    <a:pt x="179379" y="313488"/>
                    <a:pt x="179379" y="327010"/>
                  </a:cubicBezTo>
                  <a:lnTo>
                    <a:pt x="179379" y="359247"/>
                  </a:lnTo>
                  <a:cubicBezTo>
                    <a:pt x="179379" y="372769"/>
                    <a:pt x="168379" y="383768"/>
                    <a:pt x="154858" y="383768"/>
                  </a:cubicBezTo>
                  <a:lnTo>
                    <a:pt x="122620" y="383768"/>
                  </a:lnTo>
                  <a:cubicBezTo>
                    <a:pt x="109098" y="383768"/>
                    <a:pt x="98098" y="372769"/>
                    <a:pt x="98098" y="359247"/>
                  </a:cubicBezTo>
                  <a:lnTo>
                    <a:pt x="98098" y="327010"/>
                  </a:lnTo>
                  <a:cubicBezTo>
                    <a:pt x="98098" y="313488"/>
                    <a:pt x="109098" y="302487"/>
                    <a:pt x="122620" y="302487"/>
                  </a:cubicBezTo>
                  <a:close/>
                  <a:moveTo>
                    <a:pt x="205353" y="257572"/>
                  </a:moveTo>
                  <a:lnTo>
                    <a:pt x="357418" y="257572"/>
                  </a:lnTo>
                  <a:cubicBezTo>
                    <a:pt x="362748" y="257572"/>
                    <a:pt x="367062" y="261886"/>
                    <a:pt x="367062" y="267216"/>
                  </a:cubicBezTo>
                  <a:cubicBezTo>
                    <a:pt x="367062" y="272540"/>
                    <a:pt x="362748" y="276860"/>
                    <a:pt x="357418" y="276860"/>
                  </a:cubicBezTo>
                  <a:lnTo>
                    <a:pt x="205353" y="276860"/>
                  </a:lnTo>
                  <a:cubicBezTo>
                    <a:pt x="200030" y="276860"/>
                    <a:pt x="195709" y="272540"/>
                    <a:pt x="195709" y="267216"/>
                  </a:cubicBezTo>
                  <a:cubicBezTo>
                    <a:pt x="195709" y="261886"/>
                    <a:pt x="200030" y="257572"/>
                    <a:pt x="205353" y="257572"/>
                  </a:cubicBezTo>
                  <a:close/>
                  <a:moveTo>
                    <a:pt x="122620" y="228538"/>
                  </a:moveTo>
                  <a:cubicBezTo>
                    <a:pt x="119787" y="228538"/>
                    <a:pt x="117391" y="230935"/>
                    <a:pt x="117391" y="233773"/>
                  </a:cubicBezTo>
                  <a:lnTo>
                    <a:pt x="117391" y="266010"/>
                  </a:lnTo>
                  <a:cubicBezTo>
                    <a:pt x="117391" y="268848"/>
                    <a:pt x="119787" y="271243"/>
                    <a:pt x="122620" y="271243"/>
                  </a:cubicBezTo>
                  <a:lnTo>
                    <a:pt x="154858" y="271243"/>
                  </a:lnTo>
                  <a:cubicBezTo>
                    <a:pt x="157696" y="271243"/>
                    <a:pt x="160091" y="268848"/>
                    <a:pt x="160091" y="266010"/>
                  </a:cubicBezTo>
                  <a:lnTo>
                    <a:pt x="160091" y="253759"/>
                  </a:lnTo>
                  <a:lnTo>
                    <a:pt x="148613" y="264985"/>
                  </a:lnTo>
                  <a:cubicBezTo>
                    <a:pt x="144761" y="268753"/>
                    <a:pt x="138578" y="268627"/>
                    <a:pt x="134876" y="264729"/>
                  </a:cubicBezTo>
                  <a:lnTo>
                    <a:pt x="122062" y="251233"/>
                  </a:lnTo>
                  <a:cubicBezTo>
                    <a:pt x="118396" y="247370"/>
                    <a:pt x="118551" y="241262"/>
                    <a:pt x="122414" y="237595"/>
                  </a:cubicBezTo>
                  <a:cubicBezTo>
                    <a:pt x="126277" y="233934"/>
                    <a:pt x="132384" y="234089"/>
                    <a:pt x="136052" y="237952"/>
                  </a:cubicBezTo>
                  <a:lnTo>
                    <a:pt x="142124" y="244350"/>
                  </a:lnTo>
                  <a:lnTo>
                    <a:pt x="157504" y="229307"/>
                  </a:lnTo>
                  <a:cubicBezTo>
                    <a:pt x="156721" y="228830"/>
                    <a:pt x="155822" y="228538"/>
                    <a:pt x="154858" y="228538"/>
                  </a:cubicBezTo>
                  <a:close/>
                  <a:moveTo>
                    <a:pt x="205353" y="222923"/>
                  </a:moveTo>
                  <a:lnTo>
                    <a:pt x="285595" y="222923"/>
                  </a:lnTo>
                  <a:cubicBezTo>
                    <a:pt x="290924" y="222923"/>
                    <a:pt x="295240" y="227244"/>
                    <a:pt x="295240" y="232567"/>
                  </a:cubicBezTo>
                  <a:cubicBezTo>
                    <a:pt x="295240" y="237897"/>
                    <a:pt x="290924" y="242216"/>
                    <a:pt x="285595" y="242216"/>
                  </a:cubicBezTo>
                  <a:lnTo>
                    <a:pt x="205353" y="242216"/>
                  </a:lnTo>
                  <a:cubicBezTo>
                    <a:pt x="200030" y="242216"/>
                    <a:pt x="195709" y="237897"/>
                    <a:pt x="195709" y="232567"/>
                  </a:cubicBezTo>
                  <a:cubicBezTo>
                    <a:pt x="195709" y="227244"/>
                    <a:pt x="200030" y="222923"/>
                    <a:pt x="205353" y="222923"/>
                  </a:cubicBezTo>
                  <a:close/>
                  <a:moveTo>
                    <a:pt x="122620" y="209250"/>
                  </a:moveTo>
                  <a:lnTo>
                    <a:pt x="154858" y="209250"/>
                  </a:lnTo>
                  <a:cubicBezTo>
                    <a:pt x="161232" y="209250"/>
                    <a:pt x="167028" y="211716"/>
                    <a:pt x="171398" y="215720"/>
                  </a:cubicBezTo>
                  <a:lnTo>
                    <a:pt x="171624" y="215494"/>
                  </a:lnTo>
                  <a:cubicBezTo>
                    <a:pt x="175437" y="211768"/>
                    <a:pt x="181545" y="211837"/>
                    <a:pt x="185266" y="215645"/>
                  </a:cubicBezTo>
                  <a:cubicBezTo>
                    <a:pt x="188989" y="219452"/>
                    <a:pt x="188923" y="225560"/>
                    <a:pt x="185116" y="229283"/>
                  </a:cubicBezTo>
                  <a:lnTo>
                    <a:pt x="179379" y="234893"/>
                  </a:lnTo>
                  <a:lnTo>
                    <a:pt x="179379" y="266010"/>
                  </a:lnTo>
                  <a:cubicBezTo>
                    <a:pt x="179379" y="279532"/>
                    <a:pt x="168379" y="290531"/>
                    <a:pt x="154858" y="290531"/>
                  </a:cubicBezTo>
                  <a:lnTo>
                    <a:pt x="122620" y="290531"/>
                  </a:lnTo>
                  <a:cubicBezTo>
                    <a:pt x="109098" y="290531"/>
                    <a:pt x="98098" y="279532"/>
                    <a:pt x="98098" y="266010"/>
                  </a:cubicBezTo>
                  <a:lnTo>
                    <a:pt x="98098" y="233773"/>
                  </a:lnTo>
                  <a:cubicBezTo>
                    <a:pt x="98098" y="220251"/>
                    <a:pt x="109098" y="209250"/>
                    <a:pt x="122620" y="209250"/>
                  </a:cubicBezTo>
                  <a:close/>
                  <a:moveTo>
                    <a:pt x="191932" y="164557"/>
                  </a:moveTo>
                  <a:lnTo>
                    <a:pt x="285595" y="164557"/>
                  </a:lnTo>
                  <a:cubicBezTo>
                    <a:pt x="290924" y="164557"/>
                    <a:pt x="295239" y="168876"/>
                    <a:pt x="295239" y="174201"/>
                  </a:cubicBezTo>
                  <a:cubicBezTo>
                    <a:pt x="295239" y="179530"/>
                    <a:pt x="290924" y="183845"/>
                    <a:pt x="285595" y="183845"/>
                  </a:cubicBezTo>
                  <a:lnTo>
                    <a:pt x="191932" y="183845"/>
                  </a:lnTo>
                  <a:cubicBezTo>
                    <a:pt x="186607" y="183845"/>
                    <a:pt x="182288" y="179530"/>
                    <a:pt x="182288" y="174201"/>
                  </a:cubicBezTo>
                  <a:cubicBezTo>
                    <a:pt x="182288" y="168876"/>
                    <a:pt x="186607" y="164557"/>
                    <a:pt x="191932" y="164557"/>
                  </a:cubicBezTo>
                  <a:close/>
                  <a:moveTo>
                    <a:pt x="59783" y="122525"/>
                  </a:moveTo>
                  <a:lnTo>
                    <a:pt x="59783" y="598585"/>
                  </a:lnTo>
                  <a:lnTo>
                    <a:pt x="417744" y="598585"/>
                  </a:lnTo>
                  <a:lnTo>
                    <a:pt x="417744" y="122525"/>
                  </a:lnTo>
                  <a:lnTo>
                    <a:pt x="334128" y="122525"/>
                  </a:lnTo>
                  <a:cubicBezTo>
                    <a:pt x="332374" y="132013"/>
                    <a:pt x="323971" y="138748"/>
                    <a:pt x="314603" y="138748"/>
                  </a:cubicBezTo>
                  <a:lnTo>
                    <a:pt x="162924" y="138748"/>
                  </a:lnTo>
                  <a:cubicBezTo>
                    <a:pt x="153461" y="138748"/>
                    <a:pt x="145173" y="131933"/>
                    <a:pt x="143401" y="122525"/>
                  </a:cubicBezTo>
                  <a:close/>
                  <a:moveTo>
                    <a:pt x="191932" y="86053"/>
                  </a:moveTo>
                  <a:lnTo>
                    <a:pt x="285595" y="86053"/>
                  </a:lnTo>
                  <a:cubicBezTo>
                    <a:pt x="290924" y="86053"/>
                    <a:pt x="295239" y="90368"/>
                    <a:pt x="295239" y="95697"/>
                  </a:cubicBezTo>
                  <a:cubicBezTo>
                    <a:pt x="295239" y="101021"/>
                    <a:pt x="290924" y="105341"/>
                    <a:pt x="285595" y="105341"/>
                  </a:cubicBezTo>
                  <a:lnTo>
                    <a:pt x="191932" y="105341"/>
                  </a:lnTo>
                  <a:cubicBezTo>
                    <a:pt x="186607" y="105341"/>
                    <a:pt x="182288" y="101021"/>
                    <a:pt x="182288" y="95697"/>
                  </a:cubicBezTo>
                  <a:cubicBezTo>
                    <a:pt x="182288" y="90368"/>
                    <a:pt x="186607" y="86053"/>
                    <a:pt x="191932" y="86053"/>
                  </a:cubicBezTo>
                  <a:close/>
                  <a:moveTo>
                    <a:pt x="162924" y="71934"/>
                  </a:moveTo>
                  <a:cubicBezTo>
                    <a:pt x="162634" y="71934"/>
                    <a:pt x="162357" y="72205"/>
                    <a:pt x="162357" y="72496"/>
                  </a:cubicBezTo>
                  <a:lnTo>
                    <a:pt x="162357" y="72637"/>
                  </a:lnTo>
                  <a:cubicBezTo>
                    <a:pt x="162357" y="72657"/>
                    <a:pt x="162362" y="72682"/>
                    <a:pt x="162362" y="72707"/>
                  </a:cubicBezTo>
                  <a:cubicBezTo>
                    <a:pt x="162362" y="72717"/>
                    <a:pt x="162357" y="72722"/>
                    <a:pt x="162357" y="72732"/>
                  </a:cubicBezTo>
                  <a:cubicBezTo>
                    <a:pt x="162357" y="99826"/>
                    <a:pt x="162357" y="101790"/>
                    <a:pt x="162357" y="118893"/>
                  </a:cubicBezTo>
                  <a:cubicBezTo>
                    <a:pt x="162357" y="119185"/>
                    <a:pt x="162634" y="119461"/>
                    <a:pt x="162924" y="119461"/>
                  </a:cubicBezTo>
                  <a:lnTo>
                    <a:pt x="314608" y="119461"/>
                  </a:lnTo>
                  <a:cubicBezTo>
                    <a:pt x="314895" y="119461"/>
                    <a:pt x="315172" y="119185"/>
                    <a:pt x="315172" y="118893"/>
                  </a:cubicBezTo>
                  <a:lnTo>
                    <a:pt x="315172" y="72687"/>
                  </a:lnTo>
                  <a:cubicBezTo>
                    <a:pt x="315166" y="72617"/>
                    <a:pt x="315166" y="72551"/>
                    <a:pt x="315166" y="72481"/>
                  </a:cubicBezTo>
                  <a:cubicBezTo>
                    <a:pt x="315156" y="72200"/>
                    <a:pt x="314890" y="71934"/>
                    <a:pt x="314603" y="71934"/>
                  </a:cubicBezTo>
                  <a:close/>
                  <a:moveTo>
                    <a:pt x="238766" y="19288"/>
                  </a:moveTo>
                  <a:cubicBezTo>
                    <a:pt x="225662" y="19288"/>
                    <a:pt x="215003" y="29952"/>
                    <a:pt x="215003" y="43052"/>
                  </a:cubicBezTo>
                  <a:lnTo>
                    <a:pt x="215003" y="52645"/>
                  </a:lnTo>
                  <a:lnTo>
                    <a:pt x="262525" y="52645"/>
                  </a:lnTo>
                  <a:lnTo>
                    <a:pt x="262525" y="43052"/>
                  </a:lnTo>
                  <a:cubicBezTo>
                    <a:pt x="262525" y="29952"/>
                    <a:pt x="251867" y="19288"/>
                    <a:pt x="238766" y="19288"/>
                  </a:cubicBezTo>
                  <a:close/>
                  <a:moveTo>
                    <a:pt x="238766" y="0"/>
                  </a:moveTo>
                  <a:cubicBezTo>
                    <a:pt x="262506" y="0"/>
                    <a:pt x="281818" y="19313"/>
                    <a:pt x="281818" y="43052"/>
                  </a:cubicBezTo>
                  <a:lnTo>
                    <a:pt x="281818" y="52640"/>
                  </a:lnTo>
                  <a:lnTo>
                    <a:pt x="314603" y="52640"/>
                  </a:lnTo>
                  <a:cubicBezTo>
                    <a:pt x="322007" y="52640"/>
                    <a:pt x="328462" y="56719"/>
                    <a:pt x="331878" y="62742"/>
                  </a:cubicBezTo>
                  <a:lnTo>
                    <a:pt x="431438" y="62742"/>
                  </a:lnTo>
                  <a:cubicBezTo>
                    <a:pt x="456853" y="62742"/>
                    <a:pt x="477527" y="83416"/>
                    <a:pt x="477527" y="108832"/>
                  </a:cubicBezTo>
                  <a:lnTo>
                    <a:pt x="477527" y="339285"/>
                  </a:lnTo>
                  <a:cubicBezTo>
                    <a:pt x="477527" y="344614"/>
                    <a:pt x="473208" y="348934"/>
                    <a:pt x="467883" y="348934"/>
                  </a:cubicBezTo>
                  <a:cubicBezTo>
                    <a:pt x="462555" y="348934"/>
                    <a:pt x="458239" y="344614"/>
                    <a:pt x="458239" y="339285"/>
                  </a:cubicBezTo>
                  <a:lnTo>
                    <a:pt x="458239" y="108832"/>
                  </a:lnTo>
                  <a:cubicBezTo>
                    <a:pt x="458239" y="94050"/>
                    <a:pt x="446215" y="82030"/>
                    <a:pt x="431438" y="82030"/>
                  </a:cubicBezTo>
                  <a:lnTo>
                    <a:pt x="334460" y="82030"/>
                  </a:lnTo>
                  <a:lnTo>
                    <a:pt x="334460" y="103237"/>
                  </a:lnTo>
                  <a:lnTo>
                    <a:pt x="424144" y="103237"/>
                  </a:lnTo>
                  <a:cubicBezTo>
                    <a:pt x="431251" y="103237"/>
                    <a:pt x="437033" y="109018"/>
                    <a:pt x="437033" y="116121"/>
                  </a:cubicBezTo>
                  <a:lnTo>
                    <a:pt x="437033" y="604989"/>
                  </a:lnTo>
                  <a:cubicBezTo>
                    <a:pt x="437033" y="612092"/>
                    <a:pt x="431251" y="617873"/>
                    <a:pt x="424144" y="617873"/>
                  </a:cubicBezTo>
                  <a:lnTo>
                    <a:pt x="53384" y="617873"/>
                  </a:lnTo>
                  <a:cubicBezTo>
                    <a:pt x="46276" y="617873"/>
                    <a:pt x="40495" y="612092"/>
                    <a:pt x="40495" y="604989"/>
                  </a:cubicBezTo>
                  <a:lnTo>
                    <a:pt x="40495" y="116121"/>
                  </a:lnTo>
                  <a:cubicBezTo>
                    <a:pt x="40495" y="109018"/>
                    <a:pt x="46276" y="103237"/>
                    <a:pt x="53384" y="103237"/>
                  </a:cubicBezTo>
                  <a:lnTo>
                    <a:pt x="143069" y="103237"/>
                  </a:lnTo>
                  <a:lnTo>
                    <a:pt x="143069" y="82030"/>
                  </a:lnTo>
                  <a:lnTo>
                    <a:pt x="46091" y="82030"/>
                  </a:lnTo>
                  <a:cubicBezTo>
                    <a:pt x="31313" y="82030"/>
                    <a:pt x="19288" y="94050"/>
                    <a:pt x="19288" y="108832"/>
                  </a:cubicBezTo>
                  <a:lnTo>
                    <a:pt x="19288" y="612277"/>
                  </a:lnTo>
                  <a:cubicBezTo>
                    <a:pt x="19288" y="627060"/>
                    <a:pt x="31313" y="639080"/>
                    <a:pt x="46091" y="639080"/>
                  </a:cubicBezTo>
                  <a:lnTo>
                    <a:pt x="216259" y="639080"/>
                  </a:lnTo>
                  <a:cubicBezTo>
                    <a:pt x="221588" y="639080"/>
                    <a:pt x="225903" y="643399"/>
                    <a:pt x="225903" y="648724"/>
                  </a:cubicBezTo>
                  <a:cubicBezTo>
                    <a:pt x="225903" y="654054"/>
                    <a:pt x="221588" y="658368"/>
                    <a:pt x="216259" y="658368"/>
                  </a:cubicBezTo>
                  <a:lnTo>
                    <a:pt x="46091" y="658368"/>
                  </a:lnTo>
                  <a:cubicBezTo>
                    <a:pt x="20674" y="658368"/>
                    <a:pt x="0" y="637694"/>
                    <a:pt x="0" y="612277"/>
                  </a:cubicBezTo>
                  <a:lnTo>
                    <a:pt x="0" y="108832"/>
                  </a:lnTo>
                  <a:cubicBezTo>
                    <a:pt x="0" y="83416"/>
                    <a:pt x="20674" y="62742"/>
                    <a:pt x="46091" y="62742"/>
                  </a:cubicBezTo>
                  <a:lnTo>
                    <a:pt x="145651" y="62742"/>
                  </a:lnTo>
                  <a:cubicBezTo>
                    <a:pt x="149066" y="56719"/>
                    <a:pt x="155525" y="52645"/>
                    <a:pt x="162924" y="52645"/>
                  </a:cubicBezTo>
                  <a:lnTo>
                    <a:pt x="195710" y="52645"/>
                  </a:lnTo>
                  <a:lnTo>
                    <a:pt x="195710" y="43052"/>
                  </a:lnTo>
                  <a:cubicBezTo>
                    <a:pt x="195710" y="19313"/>
                    <a:pt x="215024" y="0"/>
                    <a:pt x="238766" y="0"/>
                  </a:cubicBezTo>
                  <a:close/>
                </a:path>
              </a:pathLst>
            </a:custGeom>
            <a:solidFill>
              <a:schemeClr val="bg1"/>
            </a:solidFill>
            <a:ln w="128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565A5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B338D15-1D14-4B08-97D1-814AA818DD02}"/>
              </a:ext>
            </a:extLst>
          </p:cNvPr>
          <p:cNvGrpSpPr/>
          <p:nvPr/>
        </p:nvGrpSpPr>
        <p:grpSpPr>
          <a:xfrm>
            <a:off x="892391" y="4025929"/>
            <a:ext cx="786136" cy="786136"/>
            <a:chOff x="931306" y="3693496"/>
            <a:chExt cx="786136" cy="786136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533B25B6-BC0C-4138-B825-EABC2D344122}"/>
                </a:ext>
              </a:extLst>
            </p:cNvPr>
            <p:cNvSpPr/>
            <p:nvPr/>
          </p:nvSpPr>
          <p:spPr>
            <a:xfrm>
              <a:off x="931306" y="3693496"/>
              <a:ext cx="786136" cy="786136"/>
            </a:xfrm>
            <a:prstGeom prst="ellips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8DD49332-FF82-4D38-8B47-460611E3348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21449" y="3811580"/>
              <a:ext cx="427623" cy="506424"/>
            </a:xfrm>
            <a:custGeom>
              <a:avLst/>
              <a:gdLst>
                <a:gd name="connsiteX0" fmla="*/ 108792 w 555925"/>
                <a:gd name="connsiteY0" fmla="*/ 539767 h 658368"/>
                <a:gd name="connsiteX1" fmla="*/ 368741 w 555925"/>
                <a:gd name="connsiteY1" fmla="*/ 539767 h 658368"/>
                <a:gd name="connsiteX2" fmla="*/ 378385 w 555925"/>
                <a:gd name="connsiteY2" fmla="*/ 549416 h 658368"/>
                <a:gd name="connsiteX3" fmla="*/ 368741 w 555925"/>
                <a:gd name="connsiteY3" fmla="*/ 559060 h 658368"/>
                <a:gd name="connsiteX4" fmla="*/ 108792 w 555925"/>
                <a:gd name="connsiteY4" fmla="*/ 559060 h 658368"/>
                <a:gd name="connsiteX5" fmla="*/ 99143 w 555925"/>
                <a:gd name="connsiteY5" fmla="*/ 549416 h 658368"/>
                <a:gd name="connsiteX6" fmla="*/ 108792 w 555925"/>
                <a:gd name="connsiteY6" fmla="*/ 539767 h 658368"/>
                <a:gd name="connsiteX7" fmla="*/ 435469 w 555925"/>
                <a:gd name="connsiteY7" fmla="*/ 513828 h 658368"/>
                <a:gd name="connsiteX8" fmla="*/ 423545 w 555925"/>
                <a:gd name="connsiteY8" fmla="*/ 525752 h 658368"/>
                <a:gd name="connsiteX9" fmla="*/ 423545 w 555925"/>
                <a:gd name="connsiteY9" fmla="*/ 533277 h 658368"/>
                <a:gd name="connsiteX10" fmla="*/ 474699 w 555925"/>
                <a:gd name="connsiteY10" fmla="*/ 584430 h 658368"/>
                <a:gd name="connsiteX11" fmla="*/ 474704 w 555925"/>
                <a:gd name="connsiteY11" fmla="*/ 584435 h 658368"/>
                <a:gd name="connsiteX12" fmla="*/ 515641 w 555925"/>
                <a:gd name="connsiteY12" fmla="*/ 625372 h 658368"/>
                <a:gd name="connsiteX13" fmla="*/ 523165 w 555925"/>
                <a:gd name="connsiteY13" fmla="*/ 625372 h 658368"/>
                <a:gd name="connsiteX14" fmla="*/ 535090 w 555925"/>
                <a:gd name="connsiteY14" fmla="*/ 613447 h 658368"/>
                <a:gd name="connsiteX15" fmla="*/ 535090 w 555925"/>
                <a:gd name="connsiteY15" fmla="*/ 605924 h 658368"/>
                <a:gd name="connsiteX16" fmla="*/ 442989 w 555925"/>
                <a:gd name="connsiteY16" fmla="*/ 513828 h 658368"/>
                <a:gd name="connsiteX17" fmla="*/ 435469 w 555925"/>
                <a:gd name="connsiteY17" fmla="*/ 513828 h 658368"/>
                <a:gd name="connsiteX18" fmla="*/ 405080 w 555925"/>
                <a:gd name="connsiteY18" fmla="*/ 486090 h 658368"/>
                <a:gd name="connsiteX19" fmla="*/ 405045 w 555925"/>
                <a:gd name="connsiteY19" fmla="*/ 486126 h 658368"/>
                <a:gd name="connsiteX20" fmla="*/ 395813 w 555925"/>
                <a:gd name="connsiteY20" fmla="*/ 495354 h 658368"/>
                <a:gd name="connsiteX21" fmla="*/ 395809 w 555925"/>
                <a:gd name="connsiteY21" fmla="*/ 495358 h 658368"/>
                <a:gd name="connsiteX22" fmla="*/ 411234 w 555925"/>
                <a:gd name="connsiteY22" fmla="*/ 510779 h 658368"/>
                <a:gd name="connsiteX23" fmla="*/ 420502 w 555925"/>
                <a:gd name="connsiteY23" fmla="*/ 501517 h 658368"/>
                <a:gd name="connsiteX24" fmla="*/ 301482 w 555925"/>
                <a:gd name="connsiteY24" fmla="*/ 311477 h 658368"/>
                <a:gd name="connsiteX25" fmla="*/ 244682 w 555925"/>
                <a:gd name="connsiteY25" fmla="*/ 448560 h 658368"/>
                <a:gd name="connsiteX26" fmla="*/ 301482 w 555925"/>
                <a:gd name="connsiteY26" fmla="*/ 472048 h 658368"/>
                <a:gd name="connsiteX27" fmla="*/ 358283 w 555925"/>
                <a:gd name="connsiteY27" fmla="*/ 334960 h 658368"/>
                <a:gd name="connsiteX28" fmla="*/ 301482 w 555925"/>
                <a:gd name="connsiteY28" fmla="*/ 311477 h 658368"/>
                <a:gd name="connsiteX29" fmla="*/ 301482 w 555925"/>
                <a:gd name="connsiteY29" fmla="*/ 292189 h 658368"/>
                <a:gd name="connsiteX30" fmla="*/ 371919 w 555925"/>
                <a:gd name="connsiteY30" fmla="*/ 321323 h 658368"/>
                <a:gd name="connsiteX31" fmla="*/ 301482 w 555925"/>
                <a:gd name="connsiteY31" fmla="*/ 491336 h 658368"/>
                <a:gd name="connsiteX32" fmla="*/ 231041 w 555925"/>
                <a:gd name="connsiteY32" fmla="*/ 462202 h 658368"/>
                <a:gd name="connsiteX33" fmla="*/ 301482 w 555925"/>
                <a:gd name="connsiteY33" fmla="*/ 292189 h 658368"/>
                <a:gd name="connsiteX34" fmla="*/ 301482 w 555925"/>
                <a:gd name="connsiteY34" fmla="*/ 271003 h 658368"/>
                <a:gd name="connsiteX35" fmla="*/ 216048 w 555925"/>
                <a:gd name="connsiteY35" fmla="*/ 306330 h 658368"/>
                <a:gd name="connsiteX36" fmla="*/ 301482 w 555925"/>
                <a:gd name="connsiteY36" fmla="*/ 512521 h 658368"/>
                <a:gd name="connsiteX37" fmla="*/ 422239 w 555925"/>
                <a:gd name="connsiteY37" fmla="*/ 391760 h 658368"/>
                <a:gd name="connsiteX38" fmla="*/ 301482 w 555925"/>
                <a:gd name="connsiteY38" fmla="*/ 271003 h 658368"/>
                <a:gd name="connsiteX39" fmla="*/ 108792 w 555925"/>
                <a:gd name="connsiteY39" fmla="*/ 220648 h 658368"/>
                <a:gd name="connsiteX40" fmla="*/ 368741 w 555925"/>
                <a:gd name="connsiteY40" fmla="*/ 220648 h 658368"/>
                <a:gd name="connsiteX41" fmla="*/ 378385 w 555925"/>
                <a:gd name="connsiteY41" fmla="*/ 230297 h 658368"/>
                <a:gd name="connsiteX42" fmla="*/ 368741 w 555925"/>
                <a:gd name="connsiteY42" fmla="*/ 239941 h 658368"/>
                <a:gd name="connsiteX43" fmla="*/ 108792 w 555925"/>
                <a:gd name="connsiteY43" fmla="*/ 239941 h 658368"/>
                <a:gd name="connsiteX44" fmla="*/ 99143 w 555925"/>
                <a:gd name="connsiteY44" fmla="*/ 230297 h 658368"/>
                <a:gd name="connsiteX45" fmla="*/ 108792 w 555925"/>
                <a:gd name="connsiteY45" fmla="*/ 220648 h 658368"/>
                <a:gd name="connsiteX46" fmla="*/ 173779 w 555925"/>
                <a:gd name="connsiteY46" fmla="*/ 175065 h 658368"/>
                <a:gd name="connsiteX47" fmla="*/ 303754 w 555925"/>
                <a:gd name="connsiteY47" fmla="*/ 175065 h 658368"/>
                <a:gd name="connsiteX48" fmla="*/ 313398 w 555925"/>
                <a:gd name="connsiteY48" fmla="*/ 184709 h 658368"/>
                <a:gd name="connsiteX49" fmla="*/ 303754 w 555925"/>
                <a:gd name="connsiteY49" fmla="*/ 194353 h 658368"/>
                <a:gd name="connsiteX50" fmla="*/ 173779 w 555925"/>
                <a:gd name="connsiteY50" fmla="*/ 194353 h 658368"/>
                <a:gd name="connsiteX51" fmla="*/ 164130 w 555925"/>
                <a:gd name="connsiteY51" fmla="*/ 184709 h 658368"/>
                <a:gd name="connsiteX52" fmla="*/ 173779 w 555925"/>
                <a:gd name="connsiteY52" fmla="*/ 175065 h 658368"/>
                <a:gd name="connsiteX53" fmla="*/ 59783 w 555925"/>
                <a:gd name="connsiteY53" fmla="*/ 122525 h 658368"/>
                <a:gd name="connsiteX54" fmla="*/ 59783 w 555925"/>
                <a:gd name="connsiteY54" fmla="*/ 598585 h 658368"/>
                <a:gd name="connsiteX55" fmla="*/ 417743 w 555925"/>
                <a:gd name="connsiteY55" fmla="*/ 598585 h 658368"/>
                <a:gd name="connsiteX56" fmla="*/ 417743 w 555925"/>
                <a:gd name="connsiteY56" fmla="*/ 554755 h 658368"/>
                <a:gd name="connsiteX57" fmla="*/ 409902 w 555925"/>
                <a:gd name="connsiteY57" fmla="*/ 546914 h 658368"/>
                <a:gd name="connsiteX58" fmla="*/ 402695 w 555925"/>
                <a:gd name="connsiteY58" fmla="*/ 529525 h 658368"/>
                <a:gd name="connsiteX59" fmla="*/ 380593 w 555925"/>
                <a:gd name="connsiteY59" fmla="*/ 507423 h 658368"/>
                <a:gd name="connsiteX60" fmla="*/ 301482 w 555925"/>
                <a:gd name="connsiteY60" fmla="*/ 531815 h 658368"/>
                <a:gd name="connsiteX61" fmla="*/ 300101 w 555925"/>
                <a:gd name="connsiteY61" fmla="*/ 531794 h 658368"/>
                <a:gd name="connsiteX62" fmla="*/ 300036 w 555925"/>
                <a:gd name="connsiteY62" fmla="*/ 531794 h 658368"/>
                <a:gd name="connsiteX63" fmla="*/ 231990 w 555925"/>
                <a:gd name="connsiteY63" fmla="*/ 513470 h 658368"/>
                <a:gd name="connsiteX64" fmla="*/ 108792 w 555925"/>
                <a:gd name="connsiteY64" fmla="*/ 513470 h 658368"/>
                <a:gd name="connsiteX65" fmla="*/ 99143 w 555925"/>
                <a:gd name="connsiteY65" fmla="*/ 503826 h 658368"/>
                <a:gd name="connsiteX66" fmla="*/ 108792 w 555925"/>
                <a:gd name="connsiteY66" fmla="*/ 494182 h 658368"/>
                <a:gd name="connsiteX67" fmla="*/ 205880 w 555925"/>
                <a:gd name="connsiteY67" fmla="*/ 494182 h 658368"/>
                <a:gd name="connsiteX68" fmla="*/ 183845 w 555925"/>
                <a:gd name="connsiteY68" fmla="*/ 467882 h 658368"/>
                <a:gd name="connsiteX69" fmla="*/ 108792 w 555925"/>
                <a:gd name="connsiteY69" fmla="*/ 467882 h 658368"/>
                <a:gd name="connsiteX70" fmla="*/ 99143 w 555925"/>
                <a:gd name="connsiteY70" fmla="*/ 458238 h 658368"/>
                <a:gd name="connsiteX71" fmla="*/ 108792 w 555925"/>
                <a:gd name="connsiteY71" fmla="*/ 448594 h 658368"/>
                <a:gd name="connsiteX72" fmla="*/ 173417 w 555925"/>
                <a:gd name="connsiteY72" fmla="*/ 448594 h 658368"/>
                <a:gd name="connsiteX73" fmla="*/ 164782 w 555925"/>
                <a:gd name="connsiteY73" fmla="*/ 422294 h 658368"/>
                <a:gd name="connsiteX74" fmla="*/ 108792 w 555925"/>
                <a:gd name="connsiteY74" fmla="*/ 422294 h 658368"/>
                <a:gd name="connsiteX75" fmla="*/ 99143 w 555925"/>
                <a:gd name="connsiteY75" fmla="*/ 412650 h 658368"/>
                <a:gd name="connsiteX76" fmla="*/ 108792 w 555925"/>
                <a:gd name="connsiteY76" fmla="*/ 403006 h 658368"/>
                <a:gd name="connsiteX77" fmla="*/ 161894 w 555925"/>
                <a:gd name="connsiteY77" fmla="*/ 403006 h 658368"/>
                <a:gd name="connsiteX78" fmla="*/ 161438 w 555925"/>
                <a:gd name="connsiteY78" fmla="*/ 391765 h 658368"/>
                <a:gd name="connsiteX79" fmla="*/ 162252 w 555925"/>
                <a:gd name="connsiteY79" fmla="*/ 376706 h 658368"/>
                <a:gd name="connsiteX80" fmla="*/ 108792 w 555925"/>
                <a:gd name="connsiteY80" fmla="*/ 376706 h 658368"/>
                <a:gd name="connsiteX81" fmla="*/ 99143 w 555925"/>
                <a:gd name="connsiteY81" fmla="*/ 367062 h 658368"/>
                <a:gd name="connsiteX82" fmla="*/ 108792 w 555925"/>
                <a:gd name="connsiteY82" fmla="*/ 357418 h 658368"/>
                <a:gd name="connsiteX83" fmla="*/ 165688 w 555925"/>
                <a:gd name="connsiteY83" fmla="*/ 357418 h 658368"/>
                <a:gd name="connsiteX84" fmla="*/ 175175 w 555925"/>
                <a:gd name="connsiteY84" fmla="*/ 331118 h 658368"/>
                <a:gd name="connsiteX85" fmla="*/ 108792 w 555925"/>
                <a:gd name="connsiteY85" fmla="*/ 331118 h 658368"/>
                <a:gd name="connsiteX86" fmla="*/ 99143 w 555925"/>
                <a:gd name="connsiteY86" fmla="*/ 321474 h 658368"/>
                <a:gd name="connsiteX87" fmla="*/ 108792 w 555925"/>
                <a:gd name="connsiteY87" fmla="*/ 311830 h 658368"/>
                <a:gd name="connsiteX88" fmla="*/ 186397 w 555925"/>
                <a:gd name="connsiteY88" fmla="*/ 311830 h 658368"/>
                <a:gd name="connsiteX89" fmla="*/ 210120 w 555925"/>
                <a:gd name="connsiteY89" fmla="*/ 285530 h 658368"/>
                <a:gd name="connsiteX90" fmla="*/ 108792 w 555925"/>
                <a:gd name="connsiteY90" fmla="*/ 285530 h 658368"/>
                <a:gd name="connsiteX91" fmla="*/ 99143 w 555925"/>
                <a:gd name="connsiteY91" fmla="*/ 275886 h 658368"/>
                <a:gd name="connsiteX92" fmla="*/ 108792 w 555925"/>
                <a:gd name="connsiteY92" fmla="*/ 266242 h 658368"/>
                <a:gd name="connsiteX93" fmla="*/ 238766 w 555925"/>
                <a:gd name="connsiteY93" fmla="*/ 266242 h 658368"/>
                <a:gd name="connsiteX94" fmla="*/ 239102 w 555925"/>
                <a:gd name="connsiteY94" fmla="*/ 266257 h 658368"/>
                <a:gd name="connsiteX95" fmla="*/ 301482 w 555925"/>
                <a:gd name="connsiteY95" fmla="*/ 251710 h 658368"/>
                <a:gd name="connsiteX96" fmla="*/ 417743 w 555925"/>
                <a:gd name="connsiteY96" fmla="*/ 313522 h 658368"/>
                <a:gd name="connsiteX97" fmla="*/ 417743 w 555925"/>
                <a:gd name="connsiteY97" fmla="*/ 122525 h 658368"/>
                <a:gd name="connsiteX98" fmla="*/ 334127 w 555925"/>
                <a:gd name="connsiteY98" fmla="*/ 122525 h 658368"/>
                <a:gd name="connsiteX99" fmla="*/ 314602 w 555925"/>
                <a:gd name="connsiteY99" fmla="*/ 138748 h 658368"/>
                <a:gd name="connsiteX100" fmla="*/ 162924 w 555925"/>
                <a:gd name="connsiteY100" fmla="*/ 138748 h 658368"/>
                <a:gd name="connsiteX101" fmla="*/ 143401 w 555925"/>
                <a:gd name="connsiteY101" fmla="*/ 122525 h 658368"/>
                <a:gd name="connsiteX102" fmla="*/ 191932 w 555925"/>
                <a:gd name="connsiteY102" fmla="*/ 86053 h 658368"/>
                <a:gd name="connsiteX103" fmla="*/ 285595 w 555925"/>
                <a:gd name="connsiteY103" fmla="*/ 86053 h 658368"/>
                <a:gd name="connsiteX104" fmla="*/ 295239 w 555925"/>
                <a:gd name="connsiteY104" fmla="*/ 95697 h 658368"/>
                <a:gd name="connsiteX105" fmla="*/ 285595 w 555925"/>
                <a:gd name="connsiteY105" fmla="*/ 105341 h 658368"/>
                <a:gd name="connsiteX106" fmla="*/ 191932 w 555925"/>
                <a:gd name="connsiteY106" fmla="*/ 105341 h 658368"/>
                <a:gd name="connsiteX107" fmla="*/ 182288 w 555925"/>
                <a:gd name="connsiteY107" fmla="*/ 95697 h 658368"/>
                <a:gd name="connsiteX108" fmla="*/ 191932 w 555925"/>
                <a:gd name="connsiteY108" fmla="*/ 86053 h 658368"/>
                <a:gd name="connsiteX109" fmla="*/ 162924 w 555925"/>
                <a:gd name="connsiteY109" fmla="*/ 71934 h 658368"/>
                <a:gd name="connsiteX110" fmla="*/ 162362 w 555925"/>
                <a:gd name="connsiteY110" fmla="*/ 72481 h 658368"/>
                <a:gd name="connsiteX111" fmla="*/ 162357 w 555925"/>
                <a:gd name="connsiteY111" fmla="*/ 72687 h 658368"/>
                <a:gd name="connsiteX112" fmla="*/ 162357 w 555925"/>
                <a:gd name="connsiteY112" fmla="*/ 118893 h 658368"/>
                <a:gd name="connsiteX113" fmla="*/ 162608 w 555925"/>
                <a:gd name="connsiteY113" fmla="*/ 119335 h 658368"/>
                <a:gd name="connsiteX114" fmla="*/ 162924 w 555925"/>
                <a:gd name="connsiteY114" fmla="*/ 119461 h 658368"/>
                <a:gd name="connsiteX115" fmla="*/ 314602 w 555925"/>
                <a:gd name="connsiteY115" fmla="*/ 119461 h 658368"/>
                <a:gd name="connsiteX116" fmla="*/ 314913 w 555925"/>
                <a:gd name="connsiteY116" fmla="*/ 119340 h 658368"/>
                <a:gd name="connsiteX117" fmla="*/ 315171 w 555925"/>
                <a:gd name="connsiteY117" fmla="*/ 118893 h 658368"/>
                <a:gd name="connsiteX118" fmla="*/ 315171 w 555925"/>
                <a:gd name="connsiteY118" fmla="*/ 72687 h 658368"/>
                <a:gd name="connsiteX119" fmla="*/ 315165 w 555925"/>
                <a:gd name="connsiteY119" fmla="*/ 72481 h 658368"/>
                <a:gd name="connsiteX120" fmla="*/ 314607 w 555925"/>
                <a:gd name="connsiteY120" fmla="*/ 71934 h 658368"/>
                <a:gd name="connsiteX121" fmla="*/ 238766 w 555925"/>
                <a:gd name="connsiteY121" fmla="*/ 19288 h 658368"/>
                <a:gd name="connsiteX122" fmla="*/ 215002 w 555925"/>
                <a:gd name="connsiteY122" fmla="*/ 43052 h 658368"/>
                <a:gd name="connsiteX123" fmla="*/ 215002 w 555925"/>
                <a:gd name="connsiteY123" fmla="*/ 52645 h 658368"/>
                <a:gd name="connsiteX124" fmla="*/ 262529 w 555925"/>
                <a:gd name="connsiteY124" fmla="*/ 52645 h 658368"/>
                <a:gd name="connsiteX125" fmla="*/ 262529 w 555925"/>
                <a:gd name="connsiteY125" fmla="*/ 43052 h 658368"/>
                <a:gd name="connsiteX126" fmla="*/ 238766 w 555925"/>
                <a:gd name="connsiteY126" fmla="*/ 19288 h 658368"/>
                <a:gd name="connsiteX127" fmla="*/ 238766 w 555925"/>
                <a:gd name="connsiteY127" fmla="*/ 0 h 658368"/>
                <a:gd name="connsiteX128" fmla="*/ 281817 w 555925"/>
                <a:gd name="connsiteY128" fmla="*/ 43052 h 658368"/>
                <a:gd name="connsiteX129" fmla="*/ 281817 w 555925"/>
                <a:gd name="connsiteY129" fmla="*/ 52640 h 658368"/>
                <a:gd name="connsiteX130" fmla="*/ 314607 w 555925"/>
                <a:gd name="connsiteY130" fmla="*/ 52640 h 658368"/>
                <a:gd name="connsiteX131" fmla="*/ 331877 w 555925"/>
                <a:gd name="connsiteY131" fmla="*/ 62742 h 658368"/>
                <a:gd name="connsiteX132" fmla="*/ 431437 w 555925"/>
                <a:gd name="connsiteY132" fmla="*/ 62742 h 658368"/>
                <a:gd name="connsiteX133" fmla="*/ 477526 w 555925"/>
                <a:gd name="connsiteY133" fmla="*/ 108827 h 658368"/>
                <a:gd name="connsiteX134" fmla="*/ 477526 w 555925"/>
                <a:gd name="connsiteY134" fmla="*/ 339285 h 658368"/>
                <a:gd name="connsiteX135" fmla="*/ 467882 w 555925"/>
                <a:gd name="connsiteY135" fmla="*/ 348934 h 658368"/>
                <a:gd name="connsiteX136" fmla="*/ 458238 w 555925"/>
                <a:gd name="connsiteY136" fmla="*/ 339285 h 658368"/>
                <a:gd name="connsiteX137" fmla="*/ 458238 w 555925"/>
                <a:gd name="connsiteY137" fmla="*/ 108827 h 658368"/>
                <a:gd name="connsiteX138" fmla="*/ 431437 w 555925"/>
                <a:gd name="connsiteY138" fmla="*/ 82030 h 658368"/>
                <a:gd name="connsiteX139" fmla="*/ 334459 w 555925"/>
                <a:gd name="connsiteY139" fmla="*/ 82030 h 658368"/>
                <a:gd name="connsiteX140" fmla="*/ 334459 w 555925"/>
                <a:gd name="connsiteY140" fmla="*/ 103232 h 658368"/>
                <a:gd name="connsiteX141" fmla="*/ 424143 w 555925"/>
                <a:gd name="connsiteY141" fmla="*/ 103232 h 658368"/>
                <a:gd name="connsiteX142" fmla="*/ 437032 w 555925"/>
                <a:gd name="connsiteY142" fmla="*/ 116121 h 658368"/>
                <a:gd name="connsiteX143" fmla="*/ 437032 w 555925"/>
                <a:gd name="connsiteY143" fmla="*/ 356303 h 658368"/>
                <a:gd name="connsiteX144" fmla="*/ 441527 w 555925"/>
                <a:gd name="connsiteY144" fmla="*/ 391760 h 658368"/>
                <a:gd name="connsiteX145" fmla="*/ 437032 w 555925"/>
                <a:gd name="connsiteY145" fmla="*/ 427222 h 658368"/>
                <a:gd name="connsiteX146" fmla="*/ 437032 w 555925"/>
                <a:gd name="connsiteY146" fmla="*/ 490767 h 658368"/>
                <a:gd name="connsiteX147" fmla="*/ 439242 w 555925"/>
                <a:gd name="connsiteY147" fmla="*/ 492977 h 658368"/>
                <a:gd name="connsiteX148" fmla="*/ 456631 w 555925"/>
                <a:gd name="connsiteY148" fmla="*/ 500185 h 658368"/>
                <a:gd name="connsiteX149" fmla="*/ 458233 w 555925"/>
                <a:gd name="connsiteY149" fmla="*/ 501792 h 658368"/>
                <a:gd name="connsiteX150" fmla="*/ 458233 w 555925"/>
                <a:gd name="connsiteY150" fmla="*/ 384295 h 658368"/>
                <a:gd name="connsiteX151" fmla="*/ 467882 w 555925"/>
                <a:gd name="connsiteY151" fmla="*/ 374651 h 658368"/>
                <a:gd name="connsiteX152" fmla="*/ 477526 w 555925"/>
                <a:gd name="connsiteY152" fmla="*/ 384295 h 658368"/>
                <a:gd name="connsiteX153" fmla="*/ 477526 w 555925"/>
                <a:gd name="connsiteY153" fmla="*/ 521080 h 658368"/>
                <a:gd name="connsiteX154" fmla="*/ 548732 w 555925"/>
                <a:gd name="connsiteY154" fmla="*/ 592286 h 658368"/>
                <a:gd name="connsiteX155" fmla="*/ 548732 w 555925"/>
                <a:gd name="connsiteY155" fmla="*/ 627085 h 658368"/>
                <a:gd name="connsiteX156" fmla="*/ 536803 w 555925"/>
                <a:gd name="connsiteY156" fmla="*/ 639009 h 658368"/>
                <a:gd name="connsiteX157" fmla="*/ 502003 w 555925"/>
                <a:gd name="connsiteY157" fmla="*/ 639014 h 658368"/>
                <a:gd name="connsiteX158" fmla="*/ 477471 w 555925"/>
                <a:gd name="connsiteY158" fmla="*/ 614477 h 658368"/>
                <a:gd name="connsiteX159" fmla="*/ 431437 w 555925"/>
                <a:gd name="connsiteY159" fmla="*/ 658368 h 658368"/>
                <a:gd name="connsiteX160" fmla="*/ 261269 w 555925"/>
                <a:gd name="connsiteY160" fmla="*/ 658368 h 658368"/>
                <a:gd name="connsiteX161" fmla="*/ 251625 w 555925"/>
                <a:gd name="connsiteY161" fmla="*/ 648724 h 658368"/>
                <a:gd name="connsiteX162" fmla="*/ 261269 w 555925"/>
                <a:gd name="connsiteY162" fmla="*/ 639080 h 658368"/>
                <a:gd name="connsiteX163" fmla="*/ 431437 w 555925"/>
                <a:gd name="connsiteY163" fmla="*/ 639080 h 658368"/>
                <a:gd name="connsiteX164" fmla="*/ 458233 w 555925"/>
                <a:gd name="connsiteY164" fmla="*/ 612277 h 658368"/>
                <a:gd name="connsiteX165" fmla="*/ 458233 w 555925"/>
                <a:gd name="connsiteY165" fmla="*/ 595244 h 658368"/>
                <a:gd name="connsiteX166" fmla="*/ 437032 w 555925"/>
                <a:gd name="connsiteY166" fmla="*/ 574043 h 658368"/>
                <a:gd name="connsiteX167" fmla="*/ 437032 w 555925"/>
                <a:gd name="connsiteY167" fmla="*/ 604984 h 658368"/>
                <a:gd name="connsiteX168" fmla="*/ 424143 w 555925"/>
                <a:gd name="connsiteY168" fmla="*/ 617873 h 658368"/>
                <a:gd name="connsiteX169" fmla="*/ 53384 w 555925"/>
                <a:gd name="connsiteY169" fmla="*/ 617873 h 658368"/>
                <a:gd name="connsiteX170" fmla="*/ 40495 w 555925"/>
                <a:gd name="connsiteY170" fmla="*/ 604984 h 658368"/>
                <a:gd name="connsiteX171" fmla="*/ 40495 w 555925"/>
                <a:gd name="connsiteY171" fmla="*/ 116121 h 658368"/>
                <a:gd name="connsiteX172" fmla="*/ 53384 w 555925"/>
                <a:gd name="connsiteY172" fmla="*/ 103232 h 658368"/>
                <a:gd name="connsiteX173" fmla="*/ 143069 w 555925"/>
                <a:gd name="connsiteY173" fmla="*/ 103232 h 658368"/>
                <a:gd name="connsiteX174" fmla="*/ 143069 w 555925"/>
                <a:gd name="connsiteY174" fmla="*/ 82030 h 658368"/>
                <a:gd name="connsiteX175" fmla="*/ 46091 w 555925"/>
                <a:gd name="connsiteY175" fmla="*/ 82030 h 658368"/>
                <a:gd name="connsiteX176" fmla="*/ 19288 w 555925"/>
                <a:gd name="connsiteY176" fmla="*/ 108827 h 658368"/>
                <a:gd name="connsiteX177" fmla="*/ 19288 w 555925"/>
                <a:gd name="connsiteY177" fmla="*/ 612277 h 658368"/>
                <a:gd name="connsiteX178" fmla="*/ 46091 w 555925"/>
                <a:gd name="connsiteY178" fmla="*/ 639080 h 658368"/>
                <a:gd name="connsiteX179" fmla="*/ 216258 w 555925"/>
                <a:gd name="connsiteY179" fmla="*/ 639080 h 658368"/>
                <a:gd name="connsiteX180" fmla="*/ 225902 w 555925"/>
                <a:gd name="connsiteY180" fmla="*/ 648724 h 658368"/>
                <a:gd name="connsiteX181" fmla="*/ 216258 w 555925"/>
                <a:gd name="connsiteY181" fmla="*/ 658368 h 658368"/>
                <a:gd name="connsiteX182" fmla="*/ 46091 w 555925"/>
                <a:gd name="connsiteY182" fmla="*/ 658368 h 658368"/>
                <a:gd name="connsiteX183" fmla="*/ 0 w 555925"/>
                <a:gd name="connsiteY183" fmla="*/ 612277 h 658368"/>
                <a:gd name="connsiteX184" fmla="*/ 0 w 555925"/>
                <a:gd name="connsiteY184" fmla="*/ 108832 h 658368"/>
                <a:gd name="connsiteX185" fmla="*/ 46091 w 555925"/>
                <a:gd name="connsiteY185" fmla="*/ 62742 h 658368"/>
                <a:gd name="connsiteX186" fmla="*/ 145651 w 555925"/>
                <a:gd name="connsiteY186" fmla="*/ 62742 h 658368"/>
                <a:gd name="connsiteX187" fmla="*/ 162924 w 555925"/>
                <a:gd name="connsiteY187" fmla="*/ 52645 h 658368"/>
                <a:gd name="connsiteX188" fmla="*/ 195709 w 555925"/>
                <a:gd name="connsiteY188" fmla="*/ 52645 h 658368"/>
                <a:gd name="connsiteX189" fmla="*/ 195709 w 555925"/>
                <a:gd name="connsiteY189" fmla="*/ 43052 h 658368"/>
                <a:gd name="connsiteX190" fmla="*/ 238766 w 555925"/>
                <a:gd name="connsiteY190" fmla="*/ 0 h 658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</a:cxnLst>
              <a:rect l="l" t="t" r="r" b="b"/>
              <a:pathLst>
                <a:path w="555925" h="658368">
                  <a:moveTo>
                    <a:pt x="108792" y="539767"/>
                  </a:moveTo>
                  <a:lnTo>
                    <a:pt x="368741" y="539767"/>
                  </a:lnTo>
                  <a:cubicBezTo>
                    <a:pt x="374070" y="539767"/>
                    <a:pt x="378385" y="544086"/>
                    <a:pt x="378385" y="549416"/>
                  </a:cubicBezTo>
                  <a:cubicBezTo>
                    <a:pt x="378385" y="554740"/>
                    <a:pt x="374070" y="559060"/>
                    <a:pt x="368741" y="559060"/>
                  </a:cubicBezTo>
                  <a:lnTo>
                    <a:pt x="108792" y="559060"/>
                  </a:lnTo>
                  <a:cubicBezTo>
                    <a:pt x="103463" y="559060"/>
                    <a:pt x="99143" y="554740"/>
                    <a:pt x="99143" y="549416"/>
                  </a:cubicBezTo>
                  <a:cubicBezTo>
                    <a:pt x="99143" y="544086"/>
                    <a:pt x="103463" y="539767"/>
                    <a:pt x="108792" y="539767"/>
                  </a:cubicBezTo>
                  <a:close/>
                  <a:moveTo>
                    <a:pt x="435469" y="513828"/>
                  </a:moveTo>
                  <a:lnTo>
                    <a:pt x="423545" y="525752"/>
                  </a:lnTo>
                  <a:cubicBezTo>
                    <a:pt x="421577" y="527721"/>
                    <a:pt x="421430" y="531156"/>
                    <a:pt x="423545" y="533277"/>
                  </a:cubicBezTo>
                  <a:lnTo>
                    <a:pt x="474699" y="584430"/>
                  </a:lnTo>
                  <a:cubicBezTo>
                    <a:pt x="474704" y="584430"/>
                    <a:pt x="474704" y="584430"/>
                    <a:pt x="474704" y="584435"/>
                  </a:cubicBezTo>
                  <a:lnTo>
                    <a:pt x="515641" y="625372"/>
                  </a:lnTo>
                  <a:cubicBezTo>
                    <a:pt x="517715" y="627447"/>
                    <a:pt x="521091" y="627447"/>
                    <a:pt x="523165" y="625372"/>
                  </a:cubicBezTo>
                  <a:lnTo>
                    <a:pt x="535090" y="613447"/>
                  </a:lnTo>
                  <a:cubicBezTo>
                    <a:pt x="537164" y="611373"/>
                    <a:pt x="537164" y="607998"/>
                    <a:pt x="535090" y="605924"/>
                  </a:cubicBezTo>
                  <a:lnTo>
                    <a:pt x="442989" y="513828"/>
                  </a:lnTo>
                  <a:cubicBezTo>
                    <a:pt x="440689" y="511522"/>
                    <a:pt x="437278" y="512015"/>
                    <a:pt x="435469" y="513828"/>
                  </a:cubicBezTo>
                  <a:close/>
                  <a:moveTo>
                    <a:pt x="405080" y="486090"/>
                  </a:moveTo>
                  <a:cubicBezTo>
                    <a:pt x="405066" y="486106"/>
                    <a:pt x="405056" y="486116"/>
                    <a:pt x="405045" y="486126"/>
                  </a:cubicBezTo>
                  <a:cubicBezTo>
                    <a:pt x="402042" y="489416"/>
                    <a:pt x="399148" y="492314"/>
                    <a:pt x="395813" y="495354"/>
                  </a:cubicBezTo>
                  <a:cubicBezTo>
                    <a:pt x="395813" y="495354"/>
                    <a:pt x="395813" y="495358"/>
                    <a:pt x="395809" y="495358"/>
                  </a:cubicBezTo>
                  <a:lnTo>
                    <a:pt x="411234" y="510779"/>
                  </a:lnTo>
                  <a:lnTo>
                    <a:pt x="420502" y="501517"/>
                  </a:lnTo>
                  <a:close/>
                  <a:moveTo>
                    <a:pt x="301482" y="311477"/>
                  </a:moveTo>
                  <a:cubicBezTo>
                    <a:pt x="230111" y="311477"/>
                    <a:pt x="194232" y="398114"/>
                    <a:pt x="244682" y="448560"/>
                  </a:cubicBezTo>
                  <a:cubicBezTo>
                    <a:pt x="259827" y="463704"/>
                    <a:pt x="279999" y="472048"/>
                    <a:pt x="301482" y="472048"/>
                  </a:cubicBezTo>
                  <a:cubicBezTo>
                    <a:pt x="372854" y="472048"/>
                    <a:pt x="408728" y="385407"/>
                    <a:pt x="358283" y="334960"/>
                  </a:cubicBezTo>
                  <a:cubicBezTo>
                    <a:pt x="343139" y="319816"/>
                    <a:pt x="322966" y="311477"/>
                    <a:pt x="301482" y="311477"/>
                  </a:cubicBezTo>
                  <a:close/>
                  <a:moveTo>
                    <a:pt x="301482" y="292189"/>
                  </a:moveTo>
                  <a:cubicBezTo>
                    <a:pt x="328120" y="292189"/>
                    <a:pt x="353134" y="302536"/>
                    <a:pt x="371919" y="321323"/>
                  </a:cubicBezTo>
                  <a:cubicBezTo>
                    <a:pt x="434506" y="383905"/>
                    <a:pt x="389953" y="491336"/>
                    <a:pt x="301482" y="491336"/>
                  </a:cubicBezTo>
                  <a:cubicBezTo>
                    <a:pt x="274845" y="491336"/>
                    <a:pt x="249831" y="480994"/>
                    <a:pt x="231041" y="462202"/>
                  </a:cubicBezTo>
                  <a:cubicBezTo>
                    <a:pt x="168465" y="399621"/>
                    <a:pt x="213007" y="292189"/>
                    <a:pt x="301482" y="292189"/>
                  </a:cubicBezTo>
                  <a:close/>
                  <a:moveTo>
                    <a:pt x="301482" y="271003"/>
                  </a:moveTo>
                  <a:cubicBezTo>
                    <a:pt x="269150" y="271003"/>
                    <a:pt x="238791" y="283586"/>
                    <a:pt x="216048" y="306330"/>
                  </a:cubicBezTo>
                  <a:cubicBezTo>
                    <a:pt x="140140" y="382237"/>
                    <a:pt x="194183" y="512521"/>
                    <a:pt x="301482" y="512521"/>
                  </a:cubicBezTo>
                  <a:cubicBezTo>
                    <a:pt x="367921" y="512521"/>
                    <a:pt x="422239" y="458862"/>
                    <a:pt x="422239" y="391760"/>
                  </a:cubicBezTo>
                  <a:cubicBezTo>
                    <a:pt x="422239" y="325819"/>
                    <a:pt x="369172" y="271003"/>
                    <a:pt x="301482" y="271003"/>
                  </a:cubicBezTo>
                  <a:close/>
                  <a:moveTo>
                    <a:pt x="108792" y="220648"/>
                  </a:moveTo>
                  <a:lnTo>
                    <a:pt x="368741" y="220648"/>
                  </a:lnTo>
                  <a:cubicBezTo>
                    <a:pt x="374070" y="220648"/>
                    <a:pt x="378385" y="224967"/>
                    <a:pt x="378385" y="230297"/>
                  </a:cubicBezTo>
                  <a:cubicBezTo>
                    <a:pt x="378385" y="235621"/>
                    <a:pt x="374070" y="239941"/>
                    <a:pt x="368741" y="239941"/>
                  </a:cubicBezTo>
                  <a:lnTo>
                    <a:pt x="108792" y="239941"/>
                  </a:lnTo>
                  <a:cubicBezTo>
                    <a:pt x="103463" y="239941"/>
                    <a:pt x="99143" y="235621"/>
                    <a:pt x="99143" y="230297"/>
                  </a:cubicBezTo>
                  <a:cubicBezTo>
                    <a:pt x="99143" y="224967"/>
                    <a:pt x="103463" y="220648"/>
                    <a:pt x="108792" y="220648"/>
                  </a:cubicBezTo>
                  <a:close/>
                  <a:moveTo>
                    <a:pt x="173779" y="175065"/>
                  </a:moveTo>
                  <a:lnTo>
                    <a:pt x="303754" y="175065"/>
                  </a:lnTo>
                  <a:cubicBezTo>
                    <a:pt x="309077" y="175065"/>
                    <a:pt x="313398" y="179379"/>
                    <a:pt x="313398" y="184709"/>
                  </a:cubicBezTo>
                  <a:cubicBezTo>
                    <a:pt x="313398" y="190033"/>
                    <a:pt x="309077" y="194353"/>
                    <a:pt x="303754" y="194353"/>
                  </a:cubicBezTo>
                  <a:lnTo>
                    <a:pt x="173779" y="194353"/>
                  </a:lnTo>
                  <a:cubicBezTo>
                    <a:pt x="168449" y="194353"/>
                    <a:pt x="164130" y="190033"/>
                    <a:pt x="164130" y="184709"/>
                  </a:cubicBezTo>
                  <a:cubicBezTo>
                    <a:pt x="164130" y="179379"/>
                    <a:pt x="168449" y="175065"/>
                    <a:pt x="173779" y="175065"/>
                  </a:cubicBezTo>
                  <a:close/>
                  <a:moveTo>
                    <a:pt x="59783" y="122525"/>
                  </a:moveTo>
                  <a:lnTo>
                    <a:pt x="59783" y="598585"/>
                  </a:lnTo>
                  <a:lnTo>
                    <a:pt x="417743" y="598585"/>
                  </a:lnTo>
                  <a:lnTo>
                    <a:pt x="417743" y="554755"/>
                  </a:lnTo>
                  <a:lnTo>
                    <a:pt x="409902" y="546914"/>
                  </a:lnTo>
                  <a:cubicBezTo>
                    <a:pt x="405433" y="542439"/>
                    <a:pt x="402695" y="536225"/>
                    <a:pt x="402695" y="529525"/>
                  </a:cubicBezTo>
                  <a:lnTo>
                    <a:pt x="380593" y="507423"/>
                  </a:lnTo>
                  <a:cubicBezTo>
                    <a:pt x="357499" y="523275"/>
                    <a:pt x="330159" y="531815"/>
                    <a:pt x="301482" y="531815"/>
                  </a:cubicBezTo>
                  <a:cubicBezTo>
                    <a:pt x="301021" y="531815"/>
                    <a:pt x="300563" y="531799"/>
                    <a:pt x="300101" y="531794"/>
                  </a:cubicBezTo>
                  <a:lnTo>
                    <a:pt x="300036" y="531794"/>
                  </a:lnTo>
                  <a:cubicBezTo>
                    <a:pt x="275770" y="531554"/>
                    <a:pt x="252498" y="525204"/>
                    <a:pt x="231990" y="513470"/>
                  </a:cubicBezTo>
                  <a:lnTo>
                    <a:pt x="108792" y="513470"/>
                  </a:lnTo>
                  <a:cubicBezTo>
                    <a:pt x="103463" y="513470"/>
                    <a:pt x="99143" y="509151"/>
                    <a:pt x="99143" y="503826"/>
                  </a:cubicBezTo>
                  <a:cubicBezTo>
                    <a:pt x="99143" y="498498"/>
                    <a:pt x="103463" y="494182"/>
                    <a:pt x="108792" y="494182"/>
                  </a:cubicBezTo>
                  <a:lnTo>
                    <a:pt x="205880" y="494182"/>
                  </a:lnTo>
                  <a:cubicBezTo>
                    <a:pt x="197563" y="486403"/>
                    <a:pt x="190270" y="477808"/>
                    <a:pt x="183845" y="467882"/>
                  </a:cubicBezTo>
                  <a:lnTo>
                    <a:pt x="108792" y="467882"/>
                  </a:lnTo>
                  <a:cubicBezTo>
                    <a:pt x="103463" y="467882"/>
                    <a:pt x="99143" y="463563"/>
                    <a:pt x="99143" y="458238"/>
                  </a:cubicBezTo>
                  <a:cubicBezTo>
                    <a:pt x="99143" y="452910"/>
                    <a:pt x="103463" y="448594"/>
                    <a:pt x="108792" y="448594"/>
                  </a:cubicBezTo>
                  <a:lnTo>
                    <a:pt x="173417" y="448594"/>
                  </a:lnTo>
                  <a:cubicBezTo>
                    <a:pt x="169651" y="440080"/>
                    <a:pt x="166772" y="431266"/>
                    <a:pt x="164782" y="422294"/>
                  </a:cubicBezTo>
                  <a:lnTo>
                    <a:pt x="108792" y="422294"/>
                  </a:lnTo>
                  <a:cubicBezTo>
                    <a:pt x="103463" y="422294"/>
                    <a:pt x="99143" y="417975"/>
                    <a:pt x="99143" y="412650"/>
                  </a:cubicBezTo>
                  <a:cubicBezTo>
                    <a:pt x="99143" y="407321"/>
                    <a:pt x="103463" y="403006"/>
                    <a:pt x="108792" y="403006"/>
                  </a:cubicBezTo>
                  <a:lnTo>
                    <a:pt x="161894" y="403006"/>
                  </a:lnTo>
                  <a:cubicBezTo>
                    <a:pt x="161598" y="399264"/>
                    <a:pt x="161438" y="395512"/>
                    <a:pt x="161438" y="391765"/>
                  </a:cubicBezTo>
                  <a:cubicBezTo>
                    <a:pt x="161438" y="386737"/>
                    <a:pt x="161714" y="381709"/>
                    <a:pt x="162252" y="376706"/>
                  </a:cubicBezTo>
                  <a:lnTo>
                    <a:pt x="108792" y="376706"/>
                  </a:lnTo>
                  <a:cubicBezTo>
                    <a:pt x="103463" y="376706"/>
                    <a:pt x="99143" y="372387"/>
                    <a:pt x="99143" y="367062"/>
                  </a:cubicBezTo>
                  <a:cubicBezTo>
                    <a:pt x="99143" y="361733"/>
                    <a:pt x="103463" y="357418"/>
                    <a:pt x="108792" y="357418"/>
                  </a:cubicBezTo>
                  <a:lnTo>
                    <a:pt x="165688" y="357418"/>
                  </a:lnTo>
                  <a:cubicBezTo>
                    <a:pt x="167947" y="348417"/>
                    <a:pt x="171111" y="339606"/>
                    <a:pt x="175175" y="331118"/>
                  </a:cubicBezTo>
                  <a:lnTo>
                    <a:pt x="108792" y="331118"/>
                  </a:lnTo>
                  <a:cubicBezTo>
                    <a:pt x="103463" y="331118"/>
                    <a:pt x="99143" y="326799"/>
                    <a:pt x="99143" y="321474"/>
                  </a:cubicBezTo>
                  <a:cubicBezTo>
                    <a:pt x="99143" y="316144"/>
                    <a:pt x="103463" y="311830"/>
                    <a:pt x="108792" y="311830"/>
                  </a:cubicBezTo>
                  <a:lnTo>
                    <a:pt x="186397" y="311830"/>
                  </a:lnTo>
                  <a:cubicBezTo>
                    <a:pt x="193369" y="301794"/>
                    <a:pt x="201430" y="293024"/>
                    <a:pt x="210120" y="285530"/>
                  </a:cubicBezTo>
                  <a:lnTo>
                    <a:pt x="108792" y="285530"/>
                  </a:lnTo>
                  <a:cubicBezTo>
                    <a:pt x="103463" y="285530"/>
                    <a:pt x="99143" y="281209"/>
                    <a:pt x="99143" y="275886"/>
                  </a:cubicBezTo>
                  <a:cubicBezTo>
                    <a:pt x="99143" y="270556"/>
                    <a:pt x="103463" y="266242"/>
                    <a:pt x="108792" y="266242"/>
                  </a:cubicBezTo>
                  <a:lnTo>
                    <a:pt x="238766" y="266242"/>
                  </a:lnTo>
                  <a:cubicBezTo>
                    <a:pt x="238877" y="266242"/>
                    <a:pt x="238986" y="266252"/>
                    <a:pt x="239102" y="266257"/>
                  </a:cubicBezTo>
                  <a:cubicBezTo>
                    <a:pt x="258229" y="256748"/>
                    <a:pt x="279462" y="251710"/>
                    <a:pt x="301482" y="251710"/>
                  </a:cubicBezTo>
                  <a:cubicBezTo>
                    <a:pt x="349839" y="251710"/>
                    <a:pt x="392373" y="275941"/>
                    <a:pt x="417743" y="313522"/>
                  </a:cubicBezTo>
                  <a:lnTo>
                    <a:pt x="417743" y="122525"/>
                  </a:lnTo>
                  <a:lnTo>
                    <a:pt x="334127" y="122525"/>
                  </a:lnTo>
                  <a:cubicBezTo>
                    <a:pt x="332404" y="131828"/>
                    <a:pt x="324146" y="138748"/>
                    <a:pt x="314602" y="138748"/>
                  </a:cubicBezTo>
                  <a:lnTo>
                    <a:pt x="162924" y="138748"/>
                  </a:lnTo>
                  <a:cubicBezTo>
                    <a:pt x="153366" y="138748"/>
                    <a:pt x="145123" y="131823"/>
                    <a:pt x="143401" y="122525"/>
                  </a:cubicBezTo>
                  <a:close/>
                  <a:moveTo>
                    <a:pt x="191932" y="86053"/>
                  </a:moveTo>
                  <a:lnTo>
                    <a:pt x="285595" y="86053"/>
                  </a:lnTo>
                  <a:cubicBezTo>
                    <a:pt x="290924" y="86053"/>
                    <a:pt x="295239" y="90368"/>
                    <a:pt x="295239" y="95697"/>
                  </a:cubicBezTo>
                  <a:cubicBezTo>
                    <a:pt x="295239" y="101021"/>
                    <a:pt x="290924" y="105341"/>
                    <a:pt x="285595" y="105341"/>
                  </a:cubicBezTo>
                  <a:lnTo>
                    <a:pt x="191932" y="105341"/>
                  </a:lnTo>
                  <a:cubicBezTo>
                    <a:pt x="186607" y="105341"/>
                    <a:pt x="182288" y="101021"/>
                    <a:pt x="182288" y="95697"/>
                  </a:cubicBezTo>
                  <a:cubicBezTo>
                    <a:pt x="182288" y="90368"/>
                    <a:pt x="186607" y="86053"/>
                    <a:pt x="191932" y="86053"/>
                  </a:cubicBezTo>
                  <a:close/>
                  <a:moveTo>
                    <a:pt x="162924" y="71934"/>
                  </a:moveTo>
                  <a:cubicBezTo>
                    <a:pt x="162637" y="71934"/>
                    <a:pt x="162371" y="72195"/>
                    <a:pt x="162362" y="72481"/>
                  </a:cubicBezTo>
                  <a:cubicBezTo>
                    <a:pt x="162362" y="72551"/>
                    <a:pt x="162362" y="72617"/>
                    <a:pt x="162357" y="72687"/>
                  </a:cubicBezTo>
                  <a:cubicBezTo>
                    <a:pt x="162357" y="99068"/>
                    <a:pt x="162357" y="92503"/>
                    <a:pt x="162357" y="118893"/>
                  </a:cubicBezTo>
                  <a:cubicBezTo>
                    <a:pt x="162357" y="119069"/>
                    <a:pt x="162463" y="119230"/>
                    <a:pt x="162608" y="119335"/>
                  </a:cubicBezTo>
                  <a:cubicBezTo>
                    <a:pt x="162698" y="119406"/>
                    <a:pt x="162808" y="119461"/>
                    <a:pt x="162924" y="119461"/>
                  </a:cubicBezTo>
                  <a:lnTo>
                    <a:pt x="314602" y="119461"/>
                  </a:lnTo>
                  <a:cubicBezTo>
                    <a:pt x="314718" y="119461"/>
                    <a:pt x="314823" y="119411"/>
                    <a:pt x="314913" y="119340"/>
                  </a:cubicBezTo>
                  <a:cubicBezTo>
                    <a:pt x="315060" y="119235"/>
                    <a:pt x="315171" y="119069"/>
                    <a:pt x="315171" y="118893"/>
                  </a:cubicBezTo>
                  <a:lnTo>
                    <a:pt x="315171" y="72687"/>
                  </a:lnTo>
                  <a:cubicBezTo>
                    <a:pt x="315165" y="72617"/>
                    <a:pt x="315165" y="72551"/>
                    <a:pt x="315165" y="72481"/>
                  </a:cubicBezTo>
                  <a:cubicBezTo>
                    <a:pt x="315155" y="72195"/>
                    <a:pt x="314889" y="71934"/>
                    <a:pt x="314607" y="71934"/>
                  </a:cubicBezTo>
                  <a:close/>
                  <a:moveTo>
                    <a:pt x="238766" y="19288"/>
                  </a:moveTo>
                  <a:cubicBezTo>
                    <a:pt x="225661" y="19288"/>
                    <a:pt x="215002" y="29952"/>
                    <a:pt x="215002" y="43052"/>
                  </a:cubicBezTo>
                  <a:lnTo>
                    <a:pt x="215002" y="52645"/>
                  </a:lnTo>
                  <a:lnTo>
                    <a:pt x="262529" y="52645"/>
                  </a:lnTo>
                  <a:lnTo>
                    <a:pt x="262529" y="43052"/>
                  </a:lnTo>
                  <a:cubicBezTo>
                    <a:pt x="262529" y="29952"/>
                    <a:pt x="251871" y="19288"/>
                    <a:pt x="238766" y="19288"/>
                  </a:cubicBezTo>
                  <a:close/>
                  <a:moveTo>
                    <a:pt x="238766" y="0"/>
                  </a:moveTo>
                  <a:cubicBezTo>
                    <a:pt x="262505" y="0"/>
                    <a:pt x="281817" y="19313"/>
                    <a:pt x="281817" y="43052"/>
                  </a:cubicBezTo>
                  <a:lnTo>
                    <a:pt x="281817" y="52640"/>
                  </a:lnTo>
                  <a:lnTo>
                    <a:pt x="314607" y="52640"/>
                  </a:lnTo>
                  <a:cubicBezTo>
                    <a:pt x="322006" y="52640"/>
                    <a:pt x="328461" y="56719"/>
                    <a:pt x="331877" y="62742"/>
                  </a:cubicBezTo>
                  <a:lnTo>
                    <a:pt x="431437" y="62742"/>
                  </a:lnTo>
                  <a:cubicBezTo>
                    <a:pt x="456852" y="62742"/>
                    <a:pt x="477526" y="83416"/>
                    <a:pt x="477526" y="108827"/>
                  </a:cubicBezTo>
                  <a:lnTo>
                    <a:pt x="477526" y="339285"/>
                  </a:lnTo>
                  <a:cubicBezTo>
                    <a:pt x="477526" y="344614"/>
                    <a:pt x="473207" y="348934"/>
                    <a:pt x="467882" y="348934"/>
                  </a:cubicBezTo>
                  <a:cubicBezTo>
                    <a:pt x="462554" y="348934"/>
                    <a:pt x="458238" y="344614"/>
                    <a:pt x="458238" y="339285"/>
                  </a:cubicBezTo>
                  <a:lnTo>
                    <a:pt x="458238" y="108827"/>
                  </a:lnTo>
                  <a:cubicBezTo>
                    <a:pt x="458238" y="94050"/>
                    <a:pt x="446214" y="82030"/>
                    <a:pt x="431437" y="82030"/>
                  </a:cubicBezTo>
                  <a:lnTo>
                    <a:pt x="334459" y="82030"/>
                  </a:lnTo>
                  <a:lnTo>
                    <a:pt x="334459" y="103232"/>
                  </a:lnTo>
                  <a:lnTo>
                    <a:pt x="424143" y="103232"/>
                  </a:lnTo>
                  <a:cubicBezTo>
                    <a:pt x="431250" y="103232"/>
                    <a:pt x="437032" y="109013"/>
                    <a:pt x="437032" y="116121"/>
                  </a:cubicBezTo>
                  <a:lnTo>
                    <a:pt x="437032" y="356303"/>
                  </a:lnTo>
                  <a:cubicBezTo>
                    <a:pt x="439996" y="367735"/>
                    <a:pt x="441527" y="379629"/>
                    <a:pt x="441527" y="391760"/>
                  </a:cubicBezTo>
                  <a:cubicBezTo>
                    <a:pt x="441527" y="403896"/>
                    <a:pt x="439996" y="415785"/>
                    <a:pt x="437032" y="427222"/>
                  </a:cubicBezTo>
                  <a:lnTo>
                    <a:pt x="437032" y="490767"/>
                  </a:lnTo>
                  <a:lnTo>
                    <a:pt x="439242" y="492977"/>
                  </a:lnTo>
                  <a:cubicBezTo>
                    <a:pt x="445812" y="492983"/>
                    <a:pt x="451985" y="495539"/>
                    <a:pt x="456631" y="500185"/>
                  </a:cubicBezTo>
                  <a:lnTo>
                    <a:pt x="458233" y="501792"/>
                  </a:lnTo>
                  <a:lnTo>
                    <a:pt x="458233" y="384295"/>
                  </a:lnTo>
                  <a:cubicBezTo>
                    <a:pt x="458233" y="378972"/>
                    <a:pt x="462554" y="374651"/>
                    <a:pt x="467882" y="374651"/>
                  </a:cubicBezTo>
                  <a:cubicBezTo>
                    <a:pt x="473207" y="374651"/>
                    <a:pt x="477526" y="378972"/>
                    <a:pt x="477526" y="384295"/>
                  </a:cubicBezTo>
                  <a:lnTo>
                    <a:pt x="477526" y="521080"/>
                  </a:lnTo>
                  <a:lnTo>
                    <a:pt x="548732" y="592286"/>
                  </a:lnTo>
                  <a:cubicBezTo>
                    <a:pt x="558321" y="601880"/>
                    <a:pt x="558326" y="617491"/>
                    <a:pt x="548732" y="627085"/>
                  </a:cubicBezTo>
                  <a:lnTo>
                    <a:pt x="536803" y="639009"/>
                  </a:lnTo>
                  <a:cubicBezTo>
                    <a:pt x="527209" y="648608"/>
                    <a:pt x="511597" y="648603"/>
                    <a:pt x="502003" y="639014"/>
                  </a:cubicBezTo>
                  <a:lnTo>
                    <a:pt x="477471" y="614477"/>
                  </a:lnTo>
                  <a:cubicBezTo>
                    <a:pt x="476316" y="638874"/>
                    <a:pt x="456109" y="658368"/>
                    <a:pt x="431437" y="658368"/>
                  </a:cubicBezTo>
                  <a:lnTo>
                    <a:pt x="261269" y="658368"/>
                  </a:lnTo>
                  <a:cubicBezTo>
                    <a:pt x="255939" y="658368"/>
                    <a:pt x="251625" y="654049"/>
                    <a:pt x="251625" y="648724"/>
                  </a:cubicBezTo>
                  <a:cubicBezTo>
                    <a:pt x="251625" y="643394"/>
                    <a:pt x="255939" y="639080"/>
                    <a:pt x="261269" y="639080"/>
                  </a:cubicBezTo>
                  <a:lnTo>
                    <a:pt x="431437" y="639080"/>
                  </a:lnTo>
                  <a:cubicBezTo>
                    <a:pt x="446214" y="639080"/>
                    <a:pt x="458233" y="627054"/>
                    <a:pt x="458233" y="612277"/>
                  </a:cubicBezTo>
                  <a:lnTo>
                    <a:pt x="458233" y="595244"/>
                  </a:lnTo>
                  <a:lnTo>
                    <a:pt x="437032" y="574043"/>
                  </a:lnTo>
                  <a:lnTo>
                    <a:pt x="437032" y="604984"/>
                  </a:lnTo>
                  <a:cubicBezTo>
                    <a:pt x="437032" y="612092"/>
                    <a:pt x="431250" y="617873"/>
                    <a:pt x="424143" y="617873"/>
                  </a:cubicBezTo>
                  <a:lnTo>
                    <a:pt x="53384" y="617873"/>
                  </a:lnTo>
                  <a:cubicBezTo>
                    <a:pt x="46276" y="617873"/>
                    <a:pt x="40495" y="612092"/>
                    <a:pt x="40495" y="604984"/>
                  </a:cubicBezTo>
                  <a:lnTo>
                    <a:pt x="40495" y="116121"/>
                  </a:lnTo>
                  <a:cubicBezTo>
                    <a:pt x="40495" y="109013"/>
                    <a:pt x="46276" y="103232"/>
                    <a:pt x="53384" y="103232"/>
                  </a:cubicBezTo>
                  <a:lnTo>
                    <a:pt x="143069" y="103232"/>
                  </a:lnTo>
                  <a:lnTo>
                    <a:pt x="143069" y="82030"/>
                  </a:lnTo>
                  <a:lnTo>
                    <a:pt x="46091" y="82030"/>
                  </a:lnTo>
                  <a:cubicBezTo>
                    <a:pt x="31313" y="82030"/>
                    <a:pt x="19288" y="94050"/>
                    <a:pt x="19288" y="108827"/>
                  </a:cubicBezTo>
                  <a:lnTo>
                    <a:pt x="19288" y="612277"/>
                  </a:lnTo>
                  <a:cubicBezTo>
                    <a:pt x="19288" y="627060"/>
                    <a:pt x="31313" y="639080"/>
                    <a:pt x="46091" y="639080"/>
                  </a:cubicBezTo>
                  <a:lnTo>
                    <a:pt x="216258" y="639080"/>
                  </a:lnTo>
                  <a:cubicBezTo>
                    <a:pt x="221587" y="639080"/>
                    <a:pt x="225902" y="643399"/>
                    <a:pt x="225902" y="648724"/>
                  </a:cubicBezTo>
                  <a:cubicBezTo>
                    <a:pt x="225902" y="654054"/>
                    <a:pt x="221587" y="658368"/>
                    <a:pt x="216258" y="658368"/>
                  </a:cubicBezTo>
                  <a:lnTo>
                    <a:pt x="46091" y="658368"/>
                  </a:lnTo>
                  <a:cubicBezTo>
                    <a:pt x="20674" y="658368"/>
                    <a:pt x="0" y="637694"/>
                    <a:pt x="0" y="612277"/>
                  </a:cubicBezTo>
                  <a:lnTo>
                    <a:pt x="0" y="108832"/>
                  </a:lnTo>
                  <a:cubicBezTo>
                    <a:pt x="0" y="83416"/>
                    <a:pt x="20674" y="62742"/>
                    <a:pt x="46091" y="62742"/>
                  </a:cubicBezTo>
                  <a:lnTo>
                    <a:pt x="145651" y="62742"/>
                  </a:lnTo>
                  <a:cubicBezTo>
                    <a:pt x="149066" y="56719"/>
                    <a:pt x="155520" y="52645"/>
                    <a:pt x="162924" y="52645"/>
                  </a:cubicBezTo>
                  <a:lnTo>
                    <a:pt x="195709" y="52645"/>
                  </a:lnTo>
                  <a:lnTo>
                    <a:pt x="195709" y="43052"/>
                  </a:lnTo>
                  <a:cubicBezTo>
                    <a:pt x="195709" y="19313"/>
                    <a:pt x="215023" y="0"/>
                    <a:pt x="238766" y="0"/>
                  </a:cubicBezTo>
                  <a:close/>
                </a:path>
              </a:pathLst>
            </a:custGeom>
            <a:solidFill>
              <a:schemeClr val="bg1"/>
            </a:solidFill>
            <a:ln w="128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565A5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B4258895-D738-44EA-88E9-4D993B76129F}"/>
              </a:ext>
            </a:extLst>
          </p:cNvPr>
          <p:cNvSpPr txBox="1"/>
          <p:nvPr/>
        </p:nvSpPr>
        <p:spPr>
          <a:xfrm>
            <a:off x="609600" y="1682106"/>
            <a:ext cx="3298257" cy="25948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puts</a:t>
            </a:r>
            <a:endParaRPr kumimoji="0" lang="en-US" sz="1600" b="1" i="0" u="none" strike="noStrike" kern="0" cap="none" spc="0" normalizeH="0" baseline="0" noProof="0">
              <a:ln>
                <a:noFill/>
              </a:ln>
              <a:solidFill>
                <a:srgbClr val="3F43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97E6D56-9481-4075-81AE-C5F6EB7765A3}"/>
              </a:ext>
            </a:extLst>
          </p:cNvPr>
          <p:cNvSpPr/>
          <p:nvPr/>
        </p:nvSpPr>
        <p:spPr>
          <a:xfrm>
            <a:off x="7074533" y="2140708"/>
            <a:ext cx="4197806" cy="284726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3464" marR="0" lvl="0" indent="-2286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3464" marR="0" lvl="0" indent="-2286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31775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31775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65A5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formation gaps to be addressed during primary research</a:t>
            </a:r>
          </a:p>
          <a:p>
            <a:pPr marL="285750" marR="0" lvl="0" indent="-231775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65A5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utstanding questions and hypotheses that </a:t>
            </a:r>
            <a:r>
              <a:rPr lang="en-US" sz="1400">
                <a:solidFill>
                  <a:srgbClr val="565A5C"/>
                </a:solidFill>
                <a:latin typeface="Arial"/>
              </a:rPr>
              <a:t>will inform discussion guide / survey development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979C9CE-D737-9185-712F-F552B0FBCAD0}"/>
              </a:ext>
            </a:extLst>
          </p:cNvPr>
          <p:cNvSpPr txBox="1"/>
          <p:nvPr/>
        </p:nvSpPr>
        <p:spPr>
          <a:xfrm>
            <a:off x="7064990" y="1682106"/>
            <a:ext cx="3298257" cy="25948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utputs</a:t>
            </a:r>
            <a:endParaRPr kumimoji="0" lang="en-US" sz="1600" b="1" i="0" u="none" strike="noStrike" kern="0" cap="none" spc="0" normalizeH="0" baseline="0" noProof="0">
              <a:ln>
                <a:noFill/>
              </a:ln>
              <a:solidFill>
                <a:srgbClr val="3F43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75EB20A-1DB4-82F5-BE96-3891954B7292}"/>
              </a:ext>
            </a:extLst>
          </p:cNvPr>
          <p:cNvSpPr/>
          <p:nvPr/>
        </p:nvSpPr>
        <p:spPr>
          <a:xfrm>
            <a:off x="0" y="5599877"/>
            <a:ext cx="12192000" cy="58869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vert="horz" lIns="548640" tIns="45720" rIns="548640" bIns="45720" rtlCol="0" anchor="ctr">
            <a:noAutofit/>
          </a:bodyPr>
          <a:lstStyle/>
          <a:p>
            <a:pPr algn="ctr"/>
            <a:r>
              <a:rPr lang="en-US" sz="1600" b="1">
                <a:solidFill>
                  <a:schemeClr val="bg1"/>
                </a:solidFill>
              </a:rPr>
              <a:t>EVERSANA and Neurizon will work together to develop additional hypotheses for testing in the research.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E92324D0-4B09-EFFA-A096-68B3C4751E41}"/>
              </a:ext>
            </a:extLst>
          </p:cNvPr>
          <p:cNvSpPr/>
          <p:nvPr/>
        </p:nvSpPr>
        <p:spPr>
          <a:xfrm>
            <a:off x="8572284" y="2357375"/>
            <a:ext cx="1046348" cy="1046348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Freeform: Shape 410">
            <a:extLst>
              <a:ext uri="{FF2B5EF4-FFF2-40B4-BE49-F238E27FC236}">
                <a16:creationId xmlns:a16="http://schemas.microsoft.com/office/drawing/2014/main" id="{123D9D49-C127-3428-1241-FD8C29850A2F}"/>
              </a:ext>
            </a:extLst>
          </p:cNvPr>
          <p:cNvSpPr>
            <a:spLocks noChangeAspect="1"/>
          </p:cNvSpPr>
          <p:nvPr/>
        </p:nvSpPr>
        <p:spPr>
          <a:xfrm>
            <a:off x="8745245" y="2505928"/>
            <a:ext cx="731319" cy="731316"/>
          </a:xfrm>
          <a:custGeom>
            <a:avLst/>
            <a:gdLst>
              <a:gd name="connsiteX0" fmla="*/ 305043 w 657588"/>
              <a:gd name="connsiteY0" fmla="*/ 414042 h 657586"/>
              <a:gd name="connsiteX1" fmla="*/ 305043 w 657588"/>
              <a:gd name="connsiteY1" fmla="*/ 593655 h 657586"/>
              <a:gd name="connsiteX2" fmla="*/ 362839 w 657588"/>
              <a:gd name="connsiteY2" fmla="*/ 593655 h 657586"/>
              <a:gd name="connsiteX3" fmla="*/ 362839 w 657588"/>
              <a:gd name="connsiteY3" fmla="*/ 426850 h 657586"/>
              <a:gd name="connsiteX4" fmla="*/ 305043 w 657588"/>
              <a:gd name="connsiteY4" fmla="*/ 414042 h 657586"/>
              <a:gd name="connsiteX5" fmla="*/ 537937 w 657588"/>
              <a:gd name="connsiteY5" fmla="*/ 358037 h 657586"/>
              <a:gd name="connsiteX6" fmla="*/ 531280 w 657588"/>
              <a:gd name="connsiteY6" fmla="*/ 365011 h 657586"/>
              <a:gd name="connsiteX7" fmla="*/ 524306 w 657588"/>
              <a:gd name="connsiteY7" fmla="*/ 371663 h 657586"/>
              <a:gd name="connsiteX8" fmla="*/ 621892 w 657588"/>
              <a:gd name="connsiteY8" fmla="*/ 469254 h 657586"/>
              <a:gd name="connsiteX9" fmla="*/ 628705 w 657588"/>
              <a:gd name="connsiteY9" fmla="*/ 472078 h 657586"/>
              <a:gd name="connsiteX10" fmla="*/ 635523 w 657588"/>
              <a:gd name="connsiteY10" fmla="*/ 469254 h 657586"/>
              <a:gd name="connsiteX11" fmla="*/ 635513 w 657588"/>
              <a:gd name="connsiteY11" fmla="*/ 455632 h 657586"/>
              <a:gd name="connsiteX12" fmla="*/ 181741 w 657588"/>
              <a:gd name="connsiteY12" fmla="*/ 327754 h 657586"/>
              <a:gd name="connsiteX13" fmla="*/ 181741 w 657588"/>
              <a:gd name="connsiteY13" fmla="*/ 593655 h 657586"/>
              <a:gd name="connsiteX14" fmla="*/ 239537 w 657588"/>
              <a:gd name="connsiteY14" fmla="*/ 593655 h 657586"/>
              <a:gd name="connsiteX15" fmla="*/ 239537 w 657588"/>
              <a:gd name="connsiteY15" fmla="*/ 374979 h 657586"/>
              <a:gd name="connsiteX16" fmla="*/ 228850 w 657588"/>
              <a:gd name="connsiteY16" fmla="*/ 365011 h 657586"/>
              <a:gd name="connsiteX17" fmla="*/ 199095 w 657588"/>
              <a:gd name="connsiteY17" fmla="*/ 327754 h 657586"/>
              <a:gd name="connsiteX18" fmla="*/ 380068 w 657588"/>
              <a:gd name="connsiteY18" fmla="*/ 57774 h 657586"/>
              <a:gd name="connsiteX19" fmla="*/ 269724 w 657588"/>
              <a:gd name="connsiteY19" fmla="*/ 103414 h 657586"/>
              <a:gd name="connsiteX20" fmla="*/ 224089 w 657588"/>
              <a:gd name="connsiteY20" fmla="*/ 213778 h 657586"/>
              <a:gd name="connsiteX21" fmla="*/ 269724 w 657588"/>
              <a:gd name="connsiteY21" fmla="*/ 324137 h 657586"/>
              <a:gd name="connsiteX22" fmla="*/ 380068 w 657588"/>
              <a:gd name="connsiteY22" fmla="*/ 369771 h 657586"/>
              <a:gd name="connsiteX23" fmla="*/ 490411 w 657588"/>
              <a:gd name="connsiteY23" fmla="*/ 324137 h 657586"/>
              <a:gd name="connsiteX24" fmla="*/ 536041 w 657588"/>
              <a:gd name="connsiteY24" fmla="*/ 213778 h 657586"/>
              <a:gd name="connsiteX25" fmla="*/ 490411 w 657588"/>
              <a:gd name="connsiteY25" fmla="*/ 103414 h 657586"/>
              <a:gd name="connsiteX26" fmla="*/ 380068 w 657588"/>
              <a:gd name="connsiteY26" fmla="*/ 57774 h 657586"/>
              <a:gd name="connsiteX27" fmla="*/ 380068 w 657588"/>
              <a:gd name="connsiteY27" fmla="*/ 38514 h 657586"/>
              <a:gd name="connsiteX28" fmla="*/ 504037 w 657588"/>
              <a:gd name="connsiteY28" fmla="*/ 89793 h 657586"/>
              <a:gd name="connsiteX29" fmla="*/ 555306 w 657588"/>
              <a:gd name="connsiteY29" fmla="*/ 213778 h 657586"/>
              <a:gd name="connsiteX30" fmla="*/ 504037 w 657588"/>
              <a:gd name="connsiteY30" fmla="*/ 337763 h 657586"/>
              <a:gd name="connsiteX31" fmla="*/ 380068 w 657588"/>
              <a:gd name="connsiteY31" fmla="*/ 389041 h 657586"/>
              <a:gd name="connsiteX32" fmla="*/ 256098 w 657588"/>
              <a:gd name="connsiteY32" fmla="*/ 337763 h 657586"/>
              <a:gd name="connsiteX33" fmla="*/ 204824 w 657588"/>
              <a:gd name="connsiteY33" fmla="*/ 213778 h 657586"/>
              <a:gd name="connsiteX34" fmla="*/ 256098 w 657588"/>
              <a:gd name="connsiteY34" fmla="*/ 89793 h 657586"/>
              <a:gd name="connsiteX35" fmla="*/ 380068 w 657588"/>
              <a:gd name="connsiteY35" fmla="*/ 38514 h 657586"/>
              <a:gd name="connsiteX36" fmla="*/ 380065 w 657588"/>
              <a:gd name="connsiteY36" fmla="*/ 0 h 657586"/>
              <a:gd name="connsiteX37" fmla="*/ 531280 w 657588"/>
              <a:gd name="connsiteY37" fmla="*/ 62541 h 657586"/>
              <a:gd name="connsiteX38" fmla="*/ 531832 w 657588"/>
              <a:gd name="connsiteY38" fmla="*/ 63098 h 657586"/>
              <a:gd name="connsiteX39" fmla="*/ 531782 w 657588"/>
              <a:gd name="connsiteY39" fmla="*/ 76719 h 657586"/>
              <a:gd name="connsiteX40" fmla="*/ 518160 w 657588"/>
              <a:gd name="connsiteY40" fmla="*/ 76674 h 657586"/>
              <a:gd name="connsiteX41" fmla="*/ 517634 w 657588"/>
              <a:gd name="connsiteY41" fmla="*/ 76142 h 657586"/>
              <a:gd name="connsiteX42" fmla="*/ 242476 w 657588"/>
              <a:gd name="connsiteY42" fmla="*/ 76167 h 657586"/>
              <a:gd name="connsiteX43" fmla="*/ 242476 w 657588"/>
              <a:gd name="connsiteY43" fmla="*/ 351384 h 657586"/>
              <a:gd name="connsiteX44" fmla="*/ 517659 w 657588"/>
              <a:gd name="connsiteY44" fmla="*/ 351384 h 657586"/>
              <a:gd name="connsiteX45" fmla="*/ 542794 w 657588"/>
              <a:gd name="connsiteY45" fmla="*/ 106996 h 657586"/>
              <a:gd name="connsiteX46" fmla="*/ 545548 w 657588"/>
              <a:gd name="connsiteY46" fmla="*/ 93651 h 657586"/>
              <a:gd name="connsiteX47" fmla="*/ 558888 w 657588"/>
              <a:gd name="connsiteY47" fmla="*/ 96405 h 657586"/>
              <a:gd name="connsiteX48" fmla="*/ 592924 w 657588"/>
              <a:gd name="connsiteY48" fmla="*/ 234458 h 657586"/>
              <a:gd name="connsiteX49" fmla="*/ 550319 w 657588"/>
              <a:gd name="connsiteY49" fmla="*/ 343172 h 657586"/>
              <a:gd name="connsiteX50" fmla="*/ 649144 w 657588"/>
              <a:gd name="connsiteY50" fmla="*/ 442011 h 657586"/>
              <a:gd name="connsiteX51" fmla="*/ 649139 w 657588"/>
              <a:gd name="connsiteY51" fmla="*/ 482880 h 657586"/>
              <a:gd name="connsiteX52" fmla="*/ 628700 w 657588"/>
              <a:gd name="connsiteY52" fmla="*/ 491349 h 657586"/>
              <a:gd name="connsiteX53" fmla="*/ 608261 w 657588"/>
              <a:gd name="connsiteY53" fmla="*/ 482880 h 657586"/>
              <a:gd name="connsiteX54" fmla="*/ 509456 w 657588"/>
              <a:gd name="connsiteY54" fmla="*/ 384060 h 657586"/>
              <a:gd name="connsiteX55" fmla="*/ 423846 w 657588"/>
              <a:gd name="connsiteY55" fmla="*/ 423047 h 657586"/>
              <a:gd name="connsiteX56" fmla="*/ 423041 w 657588"/>
              <a:gd name="connsiteY56" fmla="*/ 615676 h 657586"/>
              <a:gd name="connsiteX57" fmla="*/ 423846 w 657588"/>
              <a:gd name="connsiteY57" fmla="*/ 616482 h 657586"/>
              <a:gd name="connsiteX58" fmla="*/ 423846 w 657588"/>
              <a:gd name="connsiteY58" fmla="*/ 647953 h 657586"/>
              <a:gd name="connsiteX59" fmla="*/ 414214 w 657588"/>
              <a:gd name="connsiteY59" fmla="*/ 657586 h 657586"/>
              <a:gd name="connsiteX60" fmla="*/ 9633 w 657588"/>
              <a:gd name="connsiteY60" fmla="*/ 657586 h 657586"/>
              <a:gd name="connsiteX61" fmla="*/ 0 w 657588"/>
              <a:gd name="connsiteY61" fmla="*/ 647953 h 657586"/>
              <a:gd name="connsiteX62" fmla="*/ 0 w 657588"/>
              <a:gd name="connsiteY62" fmla="*/ 164536 h 657586"/>
              <a:gd name="connsiteX63" fmla="*/ 9633 w 657588"/>
              <a:gd name="connsiteY63" fmla="*/ 154903 h 657586"/>
              <a:gd name="connsiteX64" fmla="*/ 19265 w 657588"/>
              <a:gd name="connsiteY64" fmla="*/ 164536 h 657586"/>
              <a:gd name="connsiteX65" fmla="*/ 19265 w 657588"/>
              <a:gd name="connsiteY65" fmla="*/ 638321 h 657586"/>
              <a:gd name="connsiteX66" fmla="*/ 404574 w 657588"/>
              <a:gd name="connsiteY66" fmla="*/ 638321 h 657586"/>
              <a:gd name="connsiteX67" fmla="*/ 404499 w 657588"/>
              <a:gd name="connsiteY67" fmla="*/ 590719 h 657586"/>
              <a:gd name="connsiteX68" fmla="*/ 404581 w 657588"/>
              <a:gd name="connsiteY68" fmla="*/ 426148 h 657586"/>
              <a:gd name="connsiteX69" fmla="*/ 382099 w 657588"/>
              <a:gd name="connsiteY69" fmla="*/ 427532 h 657586"/>
              <a:gd name="connsiteX70" fmla="*/ 382099 w 657588"/>
              <a:gd name="connsiteY70" fmla="*/ 603288 h 657586"/>
              <a:gd name="connsiteX71" fmla="*/ 372467 w 657588"/>
              <a:gd name="connsiteY71" fmla="*/ 612925 h 657586"/>
              <a:gd name="connsiteX72" fmla="*/ 295406 w 657588"/>
              <a:gd name="connsiteY72" fmla="*/ 612925 h 657586"/>
              <a:gd name="connsiteX73" fmla="*/ 285773 w 657588"/>
              <a:gd name="connsiteY73" fmla="*/ 603288 h 657586"/>
              <a:gd name="connsiteX74" fmla="*/ 285773 w 657588"/>
              <a:gd name="connsiteY74" fmla="*/ 405754 h 657586"/>
              <a:gd name="connsiteX75" fmla="*/ 258802 w 657588"/>
              <a:gd name="connsiteY75" fmla="*/ 389960 h 657586"/>
              <a:gd name="connsiteX76" fmla="*/ 258802 w 657588"/>
              <a:gd name="connsiteY76" fmla="*/ 603288 h 657586"/>
              <a:gd name="connsiteX77" fmla="*/ 249169 w 657588"/>
              <a:gd name="connsiteY77" fmla="*/ 612925 h 657586"/>
              <a:gd name="connsiteX78" fmla="*/ 172108 w 657588"/>
              <a:gd name="connsiteY78" fmla="*/ 612925 h 657586"/>
              <a:gd name="connsiteX79" fmla="*/ 162475 w 657588"/>
              <a:gd name="connsiteY79" fmla="*/ 603288 h 657586"/>
              <a:gd name="connsiteX80" fmla="*/ 162475 w 657588"/>
              <a:gd name="connsiteY80" fmla="*/ 318122 h 657586"/>
              <a:gd name="connsiteX81" fmla="*/ 172108 w 657588"/>
              <a:gd name="connsiteY81" fmla="*/ 308484 h 657586"/>
              <a:gd name="connsiteX82" fmla="*/ 188308 w 657588"/>
              <a:gd name="connsiteY82" fmla="*/ 308484 h 657586"/>
              <a:gd name="connsiteX83" fmla="*/ 166745 w 657588"/>
              <a:gd name="connsiteY83" fmla="*/ 227123 h 657586"/>
              <a:gd name="connsiteX84" fmla="*/ 66786 w 657588"/>
              <a:gd name="connsiteY84" fmla="*/ 227123 h 657586"/>
              <a:gd name="connsiteX85" fmla="*/ 57154 w 657588"/>
              <a:gd name="connsiteY85" fmla="*/ 217491 h 657586"/>
              <a:gd name="connsiteX86" fmla="*/ 66786 w 657588"/>
              <a:gd name="connsiteY86" fmla="*/ 207853 h 657586"/>
              <a:gd name="connsiteX87" fmla="*/ 166409 w 657588"/>
              <a:gd name="connsiteY87" fmla="*/ 207853 h 657586"/>
              <a:gd name="connsiteX88" fmla="*/ 168350 w 657588"/>
              <a:gd name="connsiteY88" fmla="*/ 184308 h 657586"/>
              <a:gd name="connsiteX89" fmla="*/ 66786 w 657588"/>
              <a:gd name="connsiteY89" fmla="*/ 184308 h 657586"/>
              <a:gd name="connsiteX90" fmla="*/ 57154 w 657588"/>
              <a:gd name="connsiteY90" fmla="*/ 174676 h 657586"/>
              <a:gd name="connsiteX91" fmla="*/ 66786 w 657588"/>
              <a:gd name="connsiteY91" fmla="*/ 165043 h 657586"/>
              <a:gd name="connsiteX92" fmla="*/ 171912 w 657588"/>
              <a:gd name="connsiteY92" fmla="*/ 165043 h 657586"/>
              <a:gd name="connsiteX93" fmla="*/ 178826 w 657588"/>
              <a:gd name="connsiteY93" fmla="*/ 141493 h 657586"/>
              <a:gd name="connsiteX94" fmla="*/ 66786 w 657588"/>
              <a:gd name="connsiteY94" fmla="*/ 141493 h 657586"/>
              <a:gd name="connsiteX95" fmla="*/ 57154 w 657588"/>
              <a:gd name="connsiteY95" fmla="*/ 131861 h 657586"/>
              <a:gd name="connsiteX96" fmla="*/ 66786 w 657588"/>
              <a:gd name="connsiteY96" fmla="*/ 122228 h 657586"/>
              <a:gd name="connsiteX97" fmla="*/ 186798 w 657588"/>
              <a:gd name="connsiteY97" fmla="*/ 122228 h 657586"/>
              <a:gd name="connsiteX98" fmla="*/ 205792 w 657588"/>
              <a:gd name="connsiteY98" fmla="*/ 89818 h 657586"/>
              <a:gd name="connsiteX99" fmla="*/ 19265 w 657588"/>
              <a:gd name="connsiteY99" fmla="*/ 89818 h 657586"/>
              <a:gd name="connsiteX100" fmla="*/ 19265 w 657588"/>
              <a:gd name="connsiteY100" fmla="*/ 122785 h 657586"/>
              <a:gd name="connsiteX101" fmla="*/ 9633 w 657588"/>
              <a:gd name="connsiteY101" fmla="*/ 132423 h 657586"/>
              <a:gd name="connsiteX102" fmla="*/ 0 w 657588"/>
              <a:gd name="connsiteY102" fmla="*/ 122785 h 657586"/>
              <a:gd name="connsiteX103" fmla="*/ 0 w 657588"/>
              <a:gd name="connsiteY103" fmla="*/ 80181 h 657586"/>
              <a:gd name="connsiteX104" fmla="*/ 9633 w 657588"/>
              <a:gd name="connsiteY104" fmla="*/ 70548 h 657586"/>
              <a:gd name="connsiteX105" fmla="*/ 221245 w 657588"/>
              <a:gd name="connsiteY105" fmla="*/ 70548 h 657586"/>
              <a:gd name="connsiteX106" fmla="*/ 228850 w 657588"/>
              <a:gd name="connsiteY106" fmla="*/ 62541 h 657586"/>
              <a:gd name="connsiteX107" fmla="*/ 380065 w 657588"/>
              <a:gd name="connsiteY107" fmla="*/ 0 h 657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</a:cxnLst>
            <a:rect l="l" t="t" r="r" b="b"/>
            <a:pathLst>
              <a:path w="657588" h="657586">
                <a:moveTo>
                  <a:pt x="305043" y="414042"/>
                </a:moveTo>
                <a:lnTo>
                  <a:pt x="305043" y="593655"/>
                </a:lnTo>
                <a:lnTo>
                  <a:pt x="362839" y="593655"/>
                </a:lnTo>
                <a:lnTo>
                  <a:pt x="362839" y="426850"/>
                </a:lnTo>
                <a:cubicBezTo>
                  <a:pt x="343193" y="425275"/>
                  <a:pt x="323727" y="421010"/>
                  <a:pt x="305043" y="414042"/>
                </a:cubicBezTo>
                <a:close/>
                <a:moveTo>
                  <a:pt x="537937" y="358037"/>
                </a:moveTo>
                <a:cubicBezTo>
                  <a:pt x="535775" y="360410"/>
                  <a:pt x="533558" y="362733"/>
                  <a:pt x="531280" y="365011"/>
                </a:cubicBezTo>
                <a:cubicBezTo>
                  <a:pt x="528997" y="367293"/>
                  <a:pt x="526669" y="369501"/>
                  <a:pt x="524306" y="371663"/>
                </a:cubicBezTo>
                <a:lnTo>
                  <a:pt x="621892" y="469254"/>
                </a:lnTo>
                <a:cubicBezTo>
                  <a:pt x="623708" y="471075"/>
                  <a:pt x="626131" y="472078"/>
                  <a:pt x="628705" y="472078"/>
                </a:cubicBezTo>
                <a:cubicBezTo>
                  <a:pt x="631279" y="472078"/>
                  <a:pt x="633702" y="471075"/>
                  <a:pt x="635523" y="469254"/>
                </a:cubicBezTo>
                <a:cubicBezTo>
                  <a:pt x="639276" y="465506"/>
                  <a:pt x="639271" y="459390"/>
                  <a:pt x="635513" y="455632"/>
                </a:cubicBezTo>
                <a:close/>
                <a:moveTo>
                  <a:pt x="181741" y="327754"/>
                </a:moveTo>
                <a:lnTo>
                  <a:pt x="181741" y="593655"/>
                </a:lnTo>
                <a:lnTo>
                  <a:pt x="239537" y="593655"/>
                </a:lnTo>
                <a:lnTo>
                  <a:pt x="239537" y="374979"/>
                </a:lnTo>
                <a:cubicBezTo>
                  <a:pt x="235894" y="371799"/>
                  <a:pt x="232322" y="368482"/>
                  <a:pt x="228850" y="365011"/>
                </a:cubicBezTo>
                <a:cubicBezTo>
                  <a:pt x="217341" y="353496"/>
                  <a:pt x="207428" y="340984"/>
                  <a:pt x="199095" y="327754"/>
                </a:cubicBezTo>
                <a:close/>
                <a:moveTo>
                  <a:pt x="380068" y="57774"/>
                </a:moveTo>
                <a:cubicBezTo>
                  <a:pt x="340107" y="57774"/>
                  <a:pt x="300142" y="72991"/>
                  <a:pt x="269724" y="103414"/>
                </a:cubicBezTo>
                <a:cubicBezTo>
                  <a:pt x="240294" y="132844"/>
                  <a:pt x="224089" y="172036"/>
                  <a:pt x="224089" y="213778"/>
                </a:cubicBezTo>
                <a:cubicBezTo>
                  <a:pt x="224089" y="255514"/>
                  <a:pt x="240294" y="294707"/>
                  <a:pt x="269724" y="324137"/>
                </a:cubicBezTo>
                <a:cubicBezTo>
                  <a:pt x="299149" y="353566"/>
                  <a:pt x="338331" y="369771"/>
                  <a:pt x="380068" y="369771"/>
                </a:cubicBezTo>
                <a:cubicBezTo>
                  <a:pt x="421799" y="369771"/>
                  <a:pt x="460987" y="353566"/>
                  <a:pt x="490411" y="324137"/>
                </a:cubicBezTo>
                <a:cubicBezTo>
                  <a:pt x="519836" y="294707"/>
                  <a:pt x="536041" y="255514"/>
                  <a:pt x="536041" y="213778"/>
                </a:cubicBezTo>
                <a:cubicBezTo>
                  <a:pt x="536041" y="172036"/>
                  <a:pt x="519836" y="132844"/>
                  <a:pt x="490411" y="103414"/>
                </a:cubicBezTo>
                <a:cubicBezTo>
                  <a:pt x="459993" y="72991"/>
                  <a:pt x="420028" y="57774"/>
                  <a:pt x="380068" y="57774"/>
                </a:cubicBezTo>
                <a:close/>
                <a:moveTo>
                  <a:pt x="380068" y="38514"/>
                </a:moveTo>
                <a:cubicBezTo>
                  <a:pt x="426946" y="38514"/>
                  <a:pt x="470970" y="56726"/>
                  <a:pt x="504037" y="89793"/>
                </a:cubicBezTo>
                <a:cubicBezTo>
                  <a:pt x="537099" y="122860"/>
                  <a:pt x="555306" y="166894"/>
                  <a:pt x="555306" y="213778"/>
                </a:cubicBezTo>
                <a:cubicBezTo>
                  <a:pt x="555306" y="260662"/>
                  <a:pt x="537099" y="304696"/>
                  <a:pt x="504037" y="337763"/>
                </a:cubicBezTo>
                <a:cubicBezTo>
                  <a:pt x="470970" y="370830"/>
                  <a:pt x="426946" y="389041"/>
                  <a:pt x="380068" y="389041"/>
                </a:cubicBezTo>
                <a:cubicBezTo>
                  <a:pt x="333189" y="389041"/>
                  <a:pt x="289165" y="370830"/>
                  <a:pt x="256098" y="337763"/>
                </a:cubicBezTo>
                <a:cubicBezTo>
                  <a:pt x="223036" y="304696"/>
                  <a:pt x="204824" y="260662"/>
                  <a:pt x="204824" y="213778"/>
                </a:cubicBezTo>
                <a:cubicBezTo>
                  <a:pt x="204824" y="166894"/>
                  <a:pt x="223036" y="122860"/>
                  <a:pt x="256098" y="89793"/>
                </a:cubicBezTo>
                <a:cubicBezTo>
                  <a:pt x="289160" y="56726"/>
                  <a:pt x="333189" y="38514"/>
                  <a:pt x="380068" y="38514"/>
                </a:cubicBezTo>
                <a:close/>
                <a:moveTo>
                  <a:pt x="380065" y="0"/>
                </a:moveTo>
                <a:cubicBezTo>
                  <a:pt x="434827" y="0"/>
                  <a:pt x="489589" y="20847"/>
                  <a:pt x="531280" y="62541"/>
                </a:cubicBezTo>
                <a:lnTo>
                  <a:pt x="531832" y="63098"/>
                </a:lnTo>
                <a:cubicBezTo>
                  <a:pt x="535579" y="66870"/>
                  <a:pt x="535559" y="72971"/>
                  <a:pt x="531782" y="76719"/>
                </a:cubicBezTo>
                <a:cubicBezTo>
                  <a:pt x="528009" y="80472"/>
                  <a:pt x="521913" y="80446"/>
                  <a:pt x="518160" y="76674"/>
                </a:cubicBezTo>
                <a:lnTo>
                  <a:pt x="517634" y="76142"/>
                </a:lnTo>
                <a:cubicBezTo>
                  <a:pt x="441792" y="290"/>
                  <a:pt x="318343" y="290"/>
                  <a:pt x="242476" y="76167"/>
                </a:cubicBezTo>
                <a:cubicBezTo>
                  <a:pt x="166604" y="152044"/>
                  <a:pt x="166604" y="275507"/>
                  <a:pt x="242476" y="351384"/>
                </a:cubicBezTo>
                <a:cubicBezTo>
                  <a:pt x="318343" y="427261"/>
                  <a:pt x="441787" y="427261"/>
                  <a:pt x="517659" y="351384"/>
                </a:cubicBezTo>
                <a:cubicBezTo>
                  <a:pt x="582619" y="286419"/>
                  <a:pt x="593190" y="183636"/>
                  <a:pt x="542794" y="106996"/>
                </a:cubicBezTo>
                <a:cubicBezTo>
                  <a:pt x="539869" y="102551"/>
                  <a:pt x="541103" y="96576"/>
                  <a:pt x="545548" y="93651"/>
                </a:cubicBezTo>
                <a:cubicBezTo>
                  <a:pt x="549988" y="90726"/>
                  <a:pt x="555963" y="91960"/>
                  <a:pt x="558888" y="96405"/>
                </a:cubicBezTo>
                <a:cubicBezTo>
                  <a:pt x="585519" y="136908"/>
                  <a:pt x="597605" y="185934"/>
                  <a:pt x="592924" y="234458"/>
                </a:cubicBezTo>
                <a:cubicBezTo>
                  <a:pt x="589101" y="273997"/>
                  <a:pt x="574195" y="311710"/>
                  <a:pt x="550319" y="343172"/>
                </a:cubicBezTo>
                <a:lnTo>
                  <a:pt x="649144" y="442011"/>
                </a:lnTo>
                <a:cubicBezTo>
                  <a:pt x="660407" y="453290"/>
                  <a:pt x="660402" y="471622"/>
                  <a:pt x="649139" y="482880"/>
                </a:cubicBezTo>
                <a:cubicBezTo>
                  <a:pt x="643681" y="488338"/>
                  <a:pt x="636421" y="491349"/>
                  <a:pt x="628700" y="491349"/>
                </a:cubicBezTo>
                <a:cubicBezTo>
                  <a:pt x="620984" y="491349"/>
                  <a:pt x="613724" y="488338"/>
                  <a:pt x="608261" y="482880"/>
                </a:cubicBezTo>
                <a:lnTo>
                  <a:pt x="509456" y="384060"/>
                </a:lnTo>
                <a:cubicBezTo>
                  <a:pt x="483618" y="403732"/>
                  <a:pt x="454294" y="416726"/>
                  <a:pt x="423846" y="423047"/>
                </a:cubicBezTo>
                <a:lnTo>
                  <a:pt x="423041" y="615676"/>
                </a:lnTo>
                <a:lnTo>
                  <a:pt x="423846" y="616482"/>
                </a:lnTo>
                <a:lnTo>
                  <a:pt x="423846" y="647953"/>
                </a:lnTo>
                <a:cubicBezTo>
                  <a:pt x="423846" y="653277"/>
                  <a:pt x="419537" y="657586"/>
                  <a:pt x="414214" y="657586"/>
                </a:cubicBezTo>
                <a:lnTo>
                  <a:pt x="9633" y="657586"/>
                </a:lnTo>
                <a:cubicBezTo>
                  <a:pt x="4315" y="657586"/>
                  <a:pt x="0" y="653277"/>
                  <a:pt x="0" y="647953"/>
                </a:cubicBezTo>
                <a:lnTo>
                  <a:pt x="0" y="164536"/>
                </a:lnTo>
                <a:cubicBezTo>
                  <a:pt x="0" y="159213"/>
                  <a:pt x="4315" y="154903"/>
                  <a:pt x="9633" y="154903"/>
                </a:cubicBezTo>
                <a:cubicBezTo>
                  <a:pt x="14956" y="154903"/>
                  <a:pt x="19265" y="159213"/>
                  <a:pt x="19265" y="164536"/>
                </a:cubicBezTo>
                <a:lnTo>
                  <a:pt x="19265" y="638321"/>
                </a:lnTo>
                <a:lnTo>
                  <a:pt x="404574" y="638321"/>
                </a:lnTo>
                <a:lnTo>
                  <a:pt x="404499" y="590719"/>
                </a:lnTo>
                <a:cubicBezTo>
                  <a:pt x="404526" y="535862"/>
                  <a:pt x="404799" y="475119"/>
                  <a:pt x="404581" y="426148"/>
                </a:cubicBezTo>
                <a:cubicBezTo>
                  <a:pt x="397110" y="427000"/>
                  <a:pt x="389610" y="427457"/>
                  <a:pt x="382099" y="427532"/>
                </a:cubicBezTo>
                <a:lnTo>
                  <a:pt x="382099" y="603288"/>
                </a:lnTo>
                <a:cubicBezTo>
                  <a:pt x="382099" y="608611"/>
                  <a:pt x="377790" y="612925"/>
                  <a:pt x="372467" y="612925"/>
                </a:cubicBezTo>
                <a:lnTo>
                  <a:pt x="295406" y="612925"/>
                </a:lnTo>
                <a:cubicBezTo>
                  <a:pt x="290088" y="612925"/>
                  <a:pt x="285773" y="608611"/>
                  <a:pt x="285773" y="603288"/>
                </a:cubicBezTo>
                <a:lnTo>
                  <a:pt x="285773" y="405754"/>
                </a:lnTo>
                <a:cubicBezTo>
                  <a:pt x="276492" y="401203"/>
                  <a:pt x="267476" y="395935"/>
                  <a:pt x="258802" y="389960"/>
                </a:cubicBezTo>
                <a:lnTo>
                  <a:pt x="258802" y="603288"/>
                </a:lnTo>
                <a:cubicBezTo>
                  <a:pt x="258802" y="608611"/>
                  <a:pt x="254492" y="612925"/>
                  <a:pt x="249169" y="612925"/>
                </a:cubicBezTo>
                <a:lnTo>
                  <a:pt x="172108" y="612925"/>
                </a:lnTo>
                <a:cubicBezTo>
                  <a:pt x="166785" y="612925"/>
                  <a:pt x="162475" y="608611"/>
                  <a:pt x="162475" y="603288"/>
                </a:cubicBezTo>
                <a:lnTo>
                  <a:pt x="162475" y="318122"/>
                </a:lnTo>
                <a:cubicBezTo>
                  <a:pt x="162475" y="312799"/>
                  <a:pt x="166785" y="308484"/>
                  <a:pt x="172108" y="308484"/>
                </a:cubicBezTo>
                <a:lnTo>
                  <a:pt x="188308" y="308484"/>
                </a:lnTo>
                <a:cubicBezTo>
                  <a:pt x="175660" y="282812"/>
                  <a:pt x="168481" y="255108"/>
                  <a:pt x="166745" y="227123"/>
                </a:cubicBezTo>
                <a:lnTo>
                  <a:pt x="66786" y="227123"/>
                </a:lnTo>
                <a:cubicBezTo>
                  <a:pt x="61468" y="227123"/>
                  <a:pt x="57154" y="222809"/>
                  <a:pt x="57154" y="217491"/>
                </a:cubicBezTo>
                <a:cubicBezTo>
                  <a:pt x="57154" y="212168"/>
                  <a:pt x="61468" y="207853"/>
                  <a:pt x="66786" y="207853"/>
                </a:cubicBezTo>
                <a:lnTo>
                  <a:pt x="166409" y="207853"/>
                </a:lnTo>
                <a:cubicBezTo>
                  <a:pt x="166625" y="199981"/>
                  <a:pt x="167272" y="192120"/>
                  <a:pt x="168350" y="184308"/>
                </a:cubicBezTo>
                <a:lnTo>
                  <a:pt x="66786" y="184308"/>
                </a:lnTo>
                <a:cubicBezTo>
                  <a:pt x="61468" y="184308"/>
                  <a:pt x="57154" y="179994"/>
                  <a:pt x="57154" y="174676"/>
                </a:cubicBezTo>
                <a:cubicBezTo>
                  <a:pt x="57154" y="169353"/>
                  <a:pt x="61468" y="165043"/>
                  <a:pt x="66786" y="165043"/>
                </a:cubicBezTo>
                <a:lnTo>
                  <a:pt x="171912" y="165043"/>
                </a:lnTo>
                <a:cubicBezTo>
                  <a:pt x="173759" y="157091"/>
                  <a:pt x="176061" y="149229"/>
                  <a:pt x="178826" y="141493"/>
                </a:cubicBezTo>
                <a:lnTo>
                  <a:pt x="66786" y="141493"/>
                </a:lnTo>
                <a:cubicBezTo>
                  <a:pt x="61468" y="141493"/>
                  <a:pt x="57154" y="137184"/>
                  <a:pt x="57154" y="131861"/>
                </a:cubicBezTo>
                <a:cubicBezTo>
                  <a:pt x="57154" y="126538"/>
                  <a:pt x="61468" y="122228"/>
                  <a:pt x="66786" y="122228"/>
                </a:cubicBezTo>
                <a:lnTo>
                  <a:pt x="186798" y="122228"/>
                </a:lnTo>
                <a:cubicBezTo>
                  <a:pt x="192101" y="111005"/>
                  <a:pt x="198432" y="100158"/>
                  <a:pt x="205792" y="89818"/>
                </a:cubicBezTo>
                <a:lnTo>
                  <a:pt x="19265" y="89818"/>
                </a:lnTo>
                <a:lnTo>
                  <a:pt x="19265" y="122785"/>
                </a:lnTo>
                <a:cubicBezTo>
                  <a:pt x="19265" y="128108"/>
                  <a:pt x="14956" y="132423"/>
                  <a:pt x="9633" y="132423"/>
                </a:cubicBezTo>
                <a:cubicBezTo>
                  <a:pt x="4315" y="132423"/>
                  <a:pt x="0" y="128108"/>
                  <a:pt x="0" y="122785"/>
                </a:cubicBezTo>
                <a:lnTo>
                  <a:pt x="0" y="80181"/>
                </a:lnTo>
                <a:cubicBezTo>
                  <a:pt x="0" y="74863"/>
                  <a:pt x="4315" y="70548"/>
                  <a:pt x="9633" y="70548"/>
                </a:cubicBezTo>
                <a:lnTo>
                  <a:pt x="221245" y="70548"/>
                </a:lnTo>
                <a:cubicBezTo>
                  <a:pt x="223698" y="67829"/>
                  <a:pt x="226231" y="65160"/>
                  <a:pt x="228850" y="62541"/>
                </a:cubicBezTo>
                <a:cubicBezTo>
                  <a:pt x="270542" y="20847"/>
                  <a:pt x="325303" y="0"/>
                  <a:pt x="380065" y="0"/>
                </a:cubicBezTo>
                <a:close/>
              </a:path>
            </a:pathLst>
          </a:custGeom>
          <a:solidFill>
            <a:schemeClr val="bg1"/>
          </a:solidFill>
          <a:ln w="12706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F43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40566523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4B5A48F-E2BD-4316-50CA-13A7A06B5A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4262009-7E6A-F9DD-DA5F-CB8B31BA9C1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535185"/>
            <a:ext cx="6203655" cy="4713214"/>
          </a:xfrm>
        </p:spPr>
        <p:txBody>
          <a:bodyPr/>
          <a:lstStyle/>
          <a:p>
            <a:r>
              <a:rPr lang="en-US"/>
              <a:t>Project Status</a:t>
            </a:r>
          </a:p>
          <a:p>
            <a:r>
              <a:rPr lang="en-US"/>
              <a:t>Preliminary Analog Research</a:t>
            </a:r>
          </a:p>
          <a:p>
            <a:r>
              <a:rPr lang="en-US"/>
              <a:t>Next Steps</a:t>
            </a:r>
          </a:p>
          <a:p>
            <a:pPr lvl="1"/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CB44700-7568-217D-F092-77C77353C6A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3356977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think-cell data - do not delete" hidden="1">
            <a:extLst>
              <a:ext uri="{FF2B5EF4-FFF2-40B4-BE49-F238E27FC236}">
                <a16:creationId xmlns:a16="http://schemas.microsoft.com/office/drawing/2014/main" id="{C518EACB-59A1-C1FF-AFDF-2662BCDF89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18EACB-59A1-C1FF-AFDF-2662BCDF89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5" descr="A picture containing icon&#10;&#10;Description automatically generated">
            <a:extLst>
              <a:ext uri="{FF2B5EF4-FFF2-40B4-BE49-F238E27FC236}">
                <a16:creationId xmlns:a16="http://schemas.microsoft.com/office/drawing/2014/main" id="{13AB02FE-3E2C-EA4A-76F3-5DB852D1388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24283" y="3087451"/>
            <a:ext cx="3140288" cy="3123413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BB33A160-46EF-E0B8-2FA0-FDF9A354F1F5}"/>
              </a:ext>
            </a:extLst>
          </p:cNvPr>
          <p:cNvSpPr/>
          <p:nvPr/>
        </p:nvSpPr>
        <p:spPr>
          <a:xfrm>
            <a:off x="7579162" y="2822591"/>
            <a:ext cx="4211782" cy="3325472"/>
          </a:xfrm>
          <a:prstGeom prst="rect">
            <a:avLst/>
          </a:prstGeom>
          <a:solidFill>
            <a:schemeClr val="bg1">
              <a:alpha val="1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5D52B5B-7F0C-30E1-B8AA-0C92549E41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Detailed Project Approach: US Landscape and Foundational Insights</a:t>
            </a:r>
            <a:br>
              <a:rPr lang="en-US"/>
            </a:br>
            <a:r>
              <a:rPr lang="en-US" b="0"/>
              <a:t>Develop</a:t>
            </a:r>
            <a:r>
              <a:rPr lang="en-US"/>
              <a:t> </a:t>
            </a:r>
            <a:r>
              <a:rPr lang="en-US" b="0"/>
              <a:t>NUZ-001 TPPs and Value Proposition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54E1281-F220-3F91-ADD1-8D1CF6A47FD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1400" b="1" i="1">
                <a:solidFill>
                  <a:schemeClr val="tx2"/>
                </a:solidFill>
              </a:rPr>
              <a:t>EVERSANA will develop research materials for the KOL, payer and patient/caregiver interviews. These materials will be reviewed and revised in coordination with the </a:t>
            </a:r>
            <a:r>
              <a:rPr lang="en-US" sz="1400" b="1" i="1" err="1">
                <a:solidFill>
                  <a:schemeClr val="tx2"/>
                </a:solidFill>
              </a:rPr>
              <a:t>Neurizon</a:t>
            </a:r>
            <a:r>
              <a:rPr lang="en-US" sz="1400" b="1" i="1">
                <a:solidFill>
                  <a:schemeClr val="tx2"/>
                </a:solidFill>
              </a:rPr>
              <a:t> team.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A2894000-BC8D-E084-166F-B3E92F0106F0}"/>
              </a:ext>
            </a:extLst>
          </p:cNvPr>
          <p:cNvSpPr txBox="1">
            <a:spLocks/>
          </p:cNvSpPr>
          <p:nvPr/>
        </p:nvSpPr>
        <p:spPr>
          <a:xfrm>
            <a:off x="6133683" y="2699229"/>
            <a:ext cx="5531509" cy="155986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182880" marR="0" lvl="0" indent="-182880" algn="l" defTabSz="1219261" rtl="0" fontAlgn="auto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lang="en-US" sz="1600" b="0" i="0" u="none" strike="noStrike" kern="1200" cap="none" spc="0" baseline="0">
                <a:solidFill>
                  <a:schemeClr val="tx1"/>
                </a:solidFill>
                <a:uFillTx/>
                <a:latin typeface="+mn-lt"/>
              </a:defRPr>
            </a:lvl1pPr>
            <a:lvl2pPr marL="457200" marR="0" lvl="1" indent="-182880" algn="l" defTabSz="1219261" rtl="0" fontAlgn="auto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400" b="0" i="0" u="none" strike="noStrike" kern="1200" cap="none" spc="0" baseline="0">
                <a:solidFill>
                  <a:schemeClr val="tx1"/>
                </a:solidFill>
                <a:uFillTx/>
                <a:latin typeface="+mn-lt"/>
              </a:defRPr>
            </a:lvl2pPr>
            <a:lvl3pPr marL="731520" marR="0" lvl="2" indent="-182880" algn="l" defTabSz="1219261" rtl="0" fontAlgn="auto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2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3pPr>
            <a:lvl4pPr marL="1005840" marR="0" lvl="3" indent="-182880" algn="l" defTabSz="1219261" rtl="0" fontAlgn="auto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1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4pPr>
            <a:lvl5pPr marL="1280160" marR="0" lvl="4" indent="-182880" algn="l" defTabSz="1219261" rtl="0" fontAlgn="auto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0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5pPr>
            <a:lvl8pPr marL="381019" indent="-152408">
              <a:buFont typeface="Courier New" panose="02070309020205020404" pitchFamily="49" charset="0"/>
              <a:buChar char="­"/>
              <a:defRPr lang="en-US" sz="1600" b="0" i="0" u="none" strike="noStrike" kern="1200" cap="none" spc="0" baseline="0" dirty="0">
                <a:solidFill>
                  <a:schemeClr val="tx1"/>
                </a:solidFill>
                <a:uFillTx/>
                <a:latin typeface="+mn-lt"/>
              </a:defRPr>
            </a:lvl8pPr>
          </a:lstStyle>
          <a:p>
            <a:pPr marL="182880" marR="0" lvl="0" indent="-182880" algn="l" defTabSz="1219261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rception of clinical unmet needs</a:t>
            </a:r>
          </a:p>
          <a:p>
            <a:pPr marL="182880" marR="0" lvl="0" indent="-182880" algn="l" defTabSz="1219261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rception of clinical and economic value for NUZ-001</a:t>
            </a:r>
          </a:p>
          <a:p>
            <a:pPr marL="182880" marR="0" lvl="0" indent="-182880" algn="l" defTabSz="1219261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vers and barriers of provider choice, including expected impact of payer access restrictions and varying copay levels on prescribing</a:t>
            </a:r>
          </a:p>
          <a:p>
            <a:pPr marL="182880" marR="0" lvl="0" indent="-182880" algn="l" defTabSz="1219261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pected utilization of NUZ-00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B309539-D9A7-A1C2-F921-1B5C74323ABB}"/>
              </a:ext>
            </a:extLst>
          </p:cNvPr>
          <p:cNvSpPr txBox="1"/>
          <p:nvPr/>
        </p:nvSpPr>
        <p:spPr>
          <a:xfrm>
            <a:off x="3600561" y="2667706"/>
            <a:ext cx="2186314" cy="56811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cussion guides and screener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70E8E7C-BC24-3DB3-DE69-101421729F94}"/>
              </a:ext>
            </a:extLst>
          </p:cNvPr>
          <p:cNvSpPr txBox="1"/>
          <p:nvPr/>
        </p:nvSpPr>
        <p:spPr>
          <a:xfrm>
            <a:off x="3725640" y="3433369"/>
            <a:ext cx="2362200" cy="56811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ease backgrounder and blinded TPPs</a:t>
            </a:r>
          </a:p>
        </p:txBody>
      </p:sp>
      <p:sp>
        <p:nvSpPr>
          <p:cNvPr id="9" name="Down Arrow 21">
            <a:extLst>
              <a:ext uri="{FF2B5EF4-FFF2-40B4-BE49-F238E27FC236}">
                <a16:creationId xmlns:a16="http://schemas.microsoft.com/office/drawing/2014/main" id="{6CB89880-AF28-1254-7432-5F0A89DFA1D0}"/>
              </a:ext>
            </a:extLst>
          </p:cNvPr>
          <p:cNvSpPr/>
          <p:nvPr/>
        </p:nvSpPr>
        <p:spPr>
          <a:xfrm>
            <a:off x="5055740" y="4308778"/>
            <a:ext cx="507304" cy="106471"/>
          </a:xfrm>
          <a:prstGeom prst="downArrow">
            <a:avLst>
              <a:gd name="adj1" fmla="val 50000"/>
              <a:gd name="adj2" fmla="val 100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ight Arrow 23">
            <a:extLst>
              <a:ext uri="{FF2B5EF4-FFF2-40B4-BE49-F238E27FC236}">
                <a16:creationId xmlns:a16="http://schemas.microsoft.com/office/drawing/2014/main" id="{5EBB2BF5-E14E-AD34-9ECF-F18D99BC144D}"/>
              </a:ext>
            </a:extLst>
          </p:cNvPr>
          <p:cNvSpPr/>
          <p:nvPr/>
        </p:nvSpPr>
        <p:spPr>
          <a:xfrm flipH="1">
            <a:off x="3375885" y="2716833"/>
            <a:ext cx="118997" cy="469862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AD8F5C9-3021-F1AD-EC27-46B30365D35A}"/>
              </a:ext>
            </a:extLst>
          </p:cNvPr>
          <p:cNvCxnSpPr/>
          <p:nvPr/>
        </p:nvCxnSpPr>
        <p:spPr>
          <a:xfrm>
            <a:off x="6236037" y="2651260"/>
            <a:ext cx="5452553" cy="0"/>
          </a:xfrm>
          <a:prstGeom prst="line">
            <a:avLst/>
          </a:prstGeom>
          <a:ln w="9525" cap="rnd">
            <a:solidFill>
              <a:schemeClr val="tx1"/>
            </a:solidFill>
            <a:round/>
            <a:headEnd type="diamond" w="lg" len="lg"/>
            <a:tailEnd type="diamond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AAE1F581-8B13-2619-8226-5391D7EE091D}"/>
              </a:ext>
            </a:extLst>
          </p:cNvPr>
          <p:cNvSpPr txBox="1"/>
          <p:nvPr/>
        </p:nvSpPr>
        <p:spPr>
          <a:xfrm>
            <a:off x="6310117" y="2315906"/>
            <a:ext cx="2888856" cy="385898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OL Research Topics: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8EA48504-0E0F-D33B-075B-6FCFAA51D18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7664" y="2351558"/>
            <a:ext cx="2072820" cy="2676376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36525928-A959-53CC-84D3-92FBC70A697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63444" y="3042713"/>
            <a:ext cx="2078916" cy="2676376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4D8B5F8B-57CE-E061-4C2F-0B0EBB445A9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686379" y="4096153"/>
            <a:ext cx="4176122" cy="2322777"/>
          </a:xfrm>
          <a:prstGeom prst="rect">
            <a:avLst/>
          </a:prstGeom>
        </p:spPr>
      </p:pic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6625EE9C-8F4A-8E61-4608-64DF4BF454D0}"/>
              </a:ext>
            </a:extLst>
          </p:cNvPr>
          <p:cNvSpPr txBox="1">
            <a:spLocks/>
          </p:cNvSpPr>
          <p:nvPr/>
        </p:nvSpPr>
        <p:spPr>
          <a:xfrm>
            <a:off x="6133683" y="4363364"/>
            <a:ext cx="5502717" cy="96640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182880" marR="0" lvl="0" indent="-182880" algn="l" defTabSz="1219261" rtl="0" fontAlgn="auto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lang="en-US" sz="1600" b="0" i="0" u="none" strike="noStrike" kern="1200" cap="none" spc="0" baseline="0">
                <a:solidFill>
                  <a:schemeClr val="tx1"/>
                </a:solidFill>
                <a:uFillTx/>
                <a:latin typeface="+mn-lt"/>
              </a:defRPr>
            </a:lvl1pPr>
            <a:lvl2pPr marL="457200" marR="0" lvl="1" indent="-182880" algn="l" defTabSz="1219261" rtl="0" fontAlgn="auto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400" b="0" i="0" u="none" strike="noStrike" kern="1200" cap="none" spc="0" baseline="0">
                <a:solidFill>
                  <a:schemeClr val="tx1"/>
                </a:solidFill>
                <a:uFillTx/>
                <a:latin typeface="+mn-lt"/>
              </a:defRPr>
            </a:lvl2pPr>
            <a:lvl3pPr marL="731520" marR="0" lvl="2" indent="-182880" algn="l" defTabSz="1219261" rtl="0" fontAlgn="auto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2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3pPr>
            <a:lvl4pPr marL="1005840" marR="0" lvl="3" indent="-182880" algn="l" defTabSz="1219261" rtl="0" fontAlgn="auto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1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4pPr>
            <a:lvl5pPr marL="1280160" marR="0" lvl="4" indent="-182880" algn="l" defTabSz="1219261" rtl="0" fontAlgn="auto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0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5pPr>
            <a:lvl8pPr marL="381019" indent="-152408">
              <a:buFont typeface="Courier New" panose="02070309020205020404" pitchFamily="49" charset="0"/>
              <a:buChar char="­"/>
              <a:defRPr lang="en-US" sz="1600" b="0" i="0" u="none" strike="noStrike" kern="1200" cap="none" spc="0" baseline="0" dirty="0">
                <a:solidFill>
                  <a:schemeClr val="tx1"/>
                </a:solidFill>
                <a:uFillTx/>
                <a:latin typeface="+mn-lt"/>
              </a:defRPr>
            </a:lvl8pPr>
          </a:lstStyle>
          <a:p>
            <a:pPr>
              <a:spcBef>
                <a:spcPts val="600"/>
              </a:spcBef>
              <a:defRPr/>
            </a:pPr>
            <a:r>
              <a:rPr lang="en-US" sz="1200">
                <a:solidFill>
                  <a:srgbClr val="3F4344"/>
                </a:solidFill>
                <a:latin typeface="Arial"/>
              </a:rPr>
              <a:t>Current access and coverage landscape</a:t>
            </a:r>
          </a:p>
          <a:p>
            <a:pPr>
              <a:spcBef>
                <a:spcPts val="600"/>
              </a:spcBef>
              <a:defRPr/>
            </a:pPr>
            <a:r>
              <a:rPr lang="en-US" sz="1200">
                <a:solidFill>
                  <a:srgbClr val="3F4344"/>
                </a:solidFill>
                <a:latin typeface="Arial"/>
              </a:rPr>
              <a:t>Perception of clinical and economic value for NUZ-001</a:t>
            </a:r>
          </a:p>
          <a:p>
            <a:pPr>
              <a:spcBef>
                <a:spcPts val="600"/>
              </a:spcBef>
              <a:defRPr/>
            </a:pPr>
            <a:r>
              <a:rPr lang="en-US" sz="1200">
                <a:solidFill>
                  <a:srgbClr val="3F4344"/>
                </a:solidFill>
                <a:latin typeface="Arial"/>
              </a:rPr>
              <a:t>Pricing sensitivity and relationship between price points and coverage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68DBFB7C-E156-5C72-19ED-C51B79DFDAB8}"/>
              </a:ext>
            </a:extLst>
          </p:cNvPr>
          <p:cNvCxnSpPr/>
          <p:nvPr/>
        </p:nvCxnSpPr>
        <p:spPr>
          <a:xfrm>
            <a:off x="6236037" y="4228075"/>
            <a:ext cx="5452553" cy="0"/>
          </a:xfrm>
          <a:prstGeom prst="line">
            <a:avLst/>
          </a:prstGeom>
          <a:ln w="9525" cap="rnd">
            <a:solidFill>
              <a:schemeClr val="tx1"/>
            </a:solidFill>
            <a:round/>
            <a:headEnd type="diamond" w="lg" len="lg"/>
            <a:tailEnd type="diamond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2937E419-2DD2-9033-36C0-6A98DD2BF0EC}"/>
              </a:ext>
            </a:extLst>
          </p:cNvPr>
          <p:cNvSpPr txBox="1"/>
          <p:nvPr/>
        </p:nvSpPr>
        <p:spPr>
          <a:xfrm>
            <a:off x="6310117" y="3892721"/>
            <a:ext cx="2888856" cy="385898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yer Research Topics: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D0C894A-0901-B37B-6C38-80FF1B724C64}"/>
              </a:ext>
            </a:extLst>
          </p:cNvPr>
          <p:cNvSpPr txBox="1"/>
          <p:nvPr/>
        </p:nvSpPr>
        <p:spPr>
          <a:xfrm>
            <a:off x="795157" y="2739629"/>
            <a:ext cx="464218" cy="1812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algn="l"/>
            <a:endParaRPr lang="en-US" sz="1600" kern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E95E9E7-E819-07F9-90EF-D03E17BAC55D}"/>
              </a:ext>
            </a:extLst>
          </p:cNvPr>
          <p:cNvSpPr txBox="1"/>
          <p:nvPr/>
        </p:nvSpPr>
        <p:spPr>
          <a:xfrm>
            <a:off x="1325204" y="3427621"/>
            <a:ext cx="464218" cy="1812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algn="l"/>
            <a:endParaRPr lang="en-US" sz="1600" kern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B8247A0-C878-3CA7-D94B-F0B17FA029C2}"/>
              </a:ext>
            </a:extLst>
          </p:cNvPr>
          <p:cNvSpPr txBox="1"/>
          <p:nvPr/>
        </p:nvSpPr>
        <p:spPr>
          <a:xfrm>
            <a:off x="2700484" y="5877495"/>
            <a:ext cx="464218" cy="181280"/>
          </a:xfrm>
          <a:prstGeom prst="rect">
            <a:avLst/>
          </a:prstGeom>
          <a:solidFill>
            <a:srgbClr val="001836"/>
          </a:solidFill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algn="l"/>
            <a:endParaRPr lang="en-US" sz="1600" kern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7E1F021-943A-34C0-4FBA-A459E72E8274}"/>
              </a:ext>
            </a:extLst>
          </p:cNvPr>
          <p:cNvSpPr txBox="1"/>
          <p:nvPr/>
        </p:nvSpPr>
        <p:spPr>
          <a:xfrm rot="518554">
            <a:off x="9927801" y="2486898"/>
            <a:ext cx="1613771" cy="276999"/>
          </a:xfrm>
          <a:prstGeom prst="rect">
            <a:avLst/>
          </a:prstGeom>
          <a:solidFill>
            <a:srgbClr val="FFFFFF"/>
          </a:solidFill>
          <a:ln>
            <a:solidFill>
              <a:srgbClr val="C00000"/>
            </a:solidFill>
          </a:ln>
          <a:effectLst/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</a:defRPr>
            </a:lvl1pPr>
          </a:lstStyle>
          <a:p>
            <a:pPr marL="0" marR="0" lvl="0" indent="0" algn="ctr" defTabSz="121898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llustrativ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C0AD806-5512-D48A-9E0E-115D15184BF4}"/>
              </a:ext>
            </a:extLst>
          </p:cNvPr>
          <p:cNvSpPr/>
          <p:nvPr/>
        </p:nvSpPr>
        <p:spPr>
          <a:xfrm>
            <a:off x="609599" y="1618372"/>
            <a:ext cx="11078991" cy="63933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accent3"/>
                </a:solidFill>
              </a:rPr>
              <a:t>Primary market research will be conducted by experienced moderators with 100’s of hours of experience and the knowledge on how to accurately probe experts for refined insights.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80B959F1-45FD-CCB5-9D0D-61C717D876C4}"/>
              </a:ext>
            </a:extLst>
          </p:cNvPr>
          <p:cNvSpPr txBox="1">
            <a:spLocks/>
          </p:cNvSpPr>
          <p:nvPr/>
        </p:nvSpPr>
        <p:spPr>
          <a:xfrm>
            <a:off x="6120590" y="5753239"/>
            <a:ext cx="5502717" cy="96640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182880" marR="0" lvl="0" indent="-182880" algn="l" defTabSz="1219261" rtl="0" fontAlgn="auto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lang="en-US" sz="1600" b="0" i="0" u="none" strike="noStrike" kern="1200" cap="none" spc="0" baseline="0">
                <a:solidFill>
                  <a:schemeClr val="tx1"/>
                </a:solidFill>
                <a:uFillTx/>
                <a:latin typeface="+mn-lt"/>
              </a:defRPr>
            </a:lvl1pPr>
            <a:lvl2pPr marL="457200" marR="0" lvl="1" indent="-182880" algn="l" defTabSz="1219261" rtl="0" fontAlgn="auto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400" b="0" i="0" u="none" strike="noStrike" kern="1200" cap="none" spc="0" baseline="0">
                <a:solidFill>
                  <a:schemeClr val="tx1"/>
                </a:solidFill>
                <a:uFillTx/>
                <a:latin typeface="+mn-lt"/>
              </a:defRPr>
            </a:lvl2pPr>
            <a:lvl3pPr marL="731520" marR="0" lvl="2" indent="-182880" algn="l" defTabSz="1219261" rtl="0" fontAlgn="auto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2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3pPr>
            <a:lvl4pPr marL="1005840" marR="0" lvl="3" indent="-182880" algn="l" defTabSz="1219261" rtl="0" fontAlgn="auto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1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4pPr>
            <a:lvl5pPr marL="1280160" marR="0" lvl="4" indent="-182880" algn="l" defTabSz="1219261" rtl="0" fontAlgn="auto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0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5pPr>
            <a:lvl8pPr marL="381019" indent="-152408">
              <a:buFont typeface="Courier New" panose="02070309020205020404" pitchFamily="49" charset="0"/>
              <a:buChar char="­"/>
              <a:defRPr lang="en-US" sz="1600" b="0" i="0" u="none" strike="noStrike" kern="1200" cap="none" spc="0" baseline="0" dirty="0">
                <a:solidFill>
                  <a:schemeClr val="tx1"/>
                </a:solidFill>
                <a:uFillTx/>
                <a:latin typeface="+mn-lt"/>
              </a:defRPr>
            </a:lvl8pPr>
          </a:lstStyle>
          <a:p>
            <a:pPr>
              <a:spcBef>
                <a:spcPts val="600"/>
              </a:spcBef>
              <a:defRPr/>
            </a:pPr>
            <a:r>
              <a:rPr lang="en-US" sz="1200">
                <a:solidFill>
                  <a:srgbClr val="3F4344"/>
                </a:solidFill>
                <a:latin typeface="Arial"/>
              </a:rPr>
              <a:t>Perception of clinical value for NUZ-001</a:t>
            </a:r>
          </a:p>
          <a:p>
            <a:pPr>
              <a:spcBef>
                <a:spcPts val="600"/>
              </a:spcBef>
              <a:defRPr/>
            </a:pPr>
            <a:r>
              <a:rPr lang="en-US" sz="1200">
                <a:solidFill>
                  <a:srgbClr val="3F4344"/>
                </a:solidFill>
                <a:latin typeface="Arial"/>
              </a:rPr>
              <a:t>Drivers and barriers for product choice</a:t>
            </a:r>
          </a:p>
          <a:p>
            <a:pPr>
              <a:spcBef>
                <a:spcPts val="600"/>
              </a:spcBef>
              <a:defRPr/>
            </a:pPr>
            <a:r>
              <a:rPr lang="en-US" sz="1200">
                <a:solidFill>
                  <a:srgbClr val="3F4344"/>
                </a:solidFill>
                <a:latin typeface="Arial"/>
              </a:rPr>
              <a:t>Pricing sensitivity and relationship between price points and utilization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0EBA3A-6BAB-6E78-514D-96D8DD522B96}"/>
              </a:ext>
            </a:extLst>
          </p:cNvPr>
          <p:cNvCxnSpPr/>
          <p:nvPr/>
        </p:nvCxnSpPr>
        <p:spPr>
          <a:xfrm>
            <a:off x="6338391" y="5633560"/>
            <a:ext cx="5452553" cy="0"/>
          </a:xfrm>
          <a:prstGeom prst="line">
            <a:avLst/>
          </a:prstGeom>
          <a:ln w="9525" cap="rnd">
            <a:solidFill>
              <a:schemeClr val="tx1"/>
            </a:solidFill>
            <a:round/>
            <a:headEnd type="diamond" w="lg" len="lg"/>
            <a:tailEnd type="diamond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C732D778-3F53-5F55-3C6C-A8AB8D812F79}"/>
              </a:ext>
            </a:extLst>
          </p:cNvPr>
          <p:cNvSpPr txBox="1"/>
          <p:nvPr/>
        </p:nvSpPr>
        <p:spPr>
          <a:xfrm>
            <a:off x="6290226" y="5247662"/>
            <a:ext cx="5183088" cy="385898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tient/Caregiver Research Topics:</a:t>
            </a:r>
          </a:p>
        </p:txBody>
      </p:sp>
    </p:spTree>
    <p:extLst>
      <p:ext uri="{BB962C8B-B14F-4D97-AF65-F5344CB8AC3E}">
        <p14:creationId xmlns:p14="http://schemas.microsoft.com/office/powerpoint/2010/main" val="1109863999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FB3577-0140-545A-8B00-463652497E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B395EB4-FF17-0639-F5F4-F9EA946E9AFD}"/>
              </a:ext>
            </a:extLst>
          </p:cNvPr>
          <p:cNvSpPr/>
          <p:nvPr/>
        </p:nvSpPr>
        <p:spPr>
          <a:xfrm>
            <a:off x="11116235" y="6096000"/>
            <a:ext cx="914400" cy="6537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45EE8D9-1297-8D5A-DC16-C132EA65DD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imary Market Research Approach</a:t>
            </a: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5F6160AE-D28D-0284-F08F-E2F1E5361BDE}"/>
              </a:ext>
            </a:extLst>
          </p:cNvPr>
          <p:cNvSpPr/>
          <p:nvPr/>
        </p:nvSpPr>
        <p:spPr>
          <a:xfrm>
            <a:off x="1051038" y="1546096"/>
            <a:ext cx="406310" cy="548640"/>
          </a:xfrm>
          <a:custGeom>
            <a:avLst/>
            <a:gdLst>
              <a:gd name="connsiteX0" fmla="*/ 169224 w 543870"/>
              <a:gd name="connsiteY0" fmla="*/ 587020 h 658369"/>
              <a:gd name="connsiteX1" fmla="*/ 164295 w 543870"/>
              <a:gd name="connsiteY1" fmla="*/ 591949 h 658369"/>
              <a:gd name="connsiteX2" fmla="*/ 164295 w 543870"/>
              <a:gd name="connsiteY2" fmla="*/ 599279 h 658369"/>
              <a:gd name="connsiteX3" fmla="*/ 169224 w 543870"/>
              <a:gd name="connsiteY3" fmla="*/ 604209 h 658369"/>
              <a:gd name="connsiteX4" fmla="*/ 223056 w 543870"/>
              <a:gd name="connsiteY4" fmla="*/ 604209 h 658369"/>
              <a:gd name="connsiteX5" fmla="*/ 227985 w 543870"/>
              <a:gd name="connsiteY5" fmla="*/ 599279 h 658369"/>
              <a:gd name="connsiteX6" fmla="*/ 227985 w 543870"/>
              <a:gd name="connsiteY6" fmla="*/ 591949 h 658369"/>
              <a:gd name="connsiteX7" fmla="*/ 223056 w 543870"/>
              <a:gd name="connsiteY7" fmla="*/ 587020 h 658369"/>
              <a:gd name="connsiteX8" fmla="*/ 169224 w 543870"/>
              <a:gd name="connsiteY8" fmla="*/ 567729 h 658369"/>
              <a:gd name="connsiteX9" fmla="*/ 223056 w 543870"/>
              <a:gd name="connsiteY9" fmla="*/ 567729 h 658369"/>
              <a:gd name="connsiteX10" fmla="*/ 247275 w 543870"/>
              <a:gd name="connsiteY10" fmla="*/ 591949 h 658369"/>
              <a:gd name="connsiteX11" fmla="*/ 247275 w 543870"/>
              <a:gd name="connsiteY11" fmla="*/ 599279 h 658369"/>
              <a:gd name="connsiteX12" fmla="*/ 223056 w 543870"/>
              <a:gd name="connsiteY12" fmla="*/ 623499 h 658369"/>
              <a:gd name="connsiteX13" fmla="*/ 169224 w 543870"/>
              <a:gd name="connsiteY13" fmla="*/ 623499 h 658369"/>
              <a:gd name="connsiteX14" fmla="*/ 145005 w 543870"/>
              <a:gd name="connsiteY14" fmla="*/ 599279 h 658369"/>
              <a:gd name="connsiteX15" fmla="*/ 145005 w 543870"/>
              <a:gd name="connsiteY15" fmla="*/ 591949 h 658369"/>
              <a:gd name="connsiteX16" fmla="*/ 169224 w 543870"/>
              <a:gd name="connsiteY16" fmla="*/ 567729 h 658369"/>
              <a:gd name="connsiteX17" fmla="*/ 100013 w 543870"/>
              <a:gd name="connsiteY17" fmla="*/ 449485 h 658369"/>
              <a:gd name="connsiteX18" fmla="*/ 272384 w 543870"/>
              <a:gd name="connsiteY18" fmla="*/ 449485 h 658369"/>
              <a:gd name="connsiteX19" fmla="*/ 282028 w 543870"/>
              <a:gd name="connsiteY19" fmla="*/ 459129 h 658369"/>
              <a:gd name="connsiteX20" fmla="*/ 272384 w 543870"/>
              <a:gd name="connsiteY20" fmla="*/ 468774 h 658369"/>
              <a:gd name="connsiteX21" fmla="*/ 100013 w 543870"/>
              <a:gd name="connsiteY21" fmla="*/ 468774 h 658369"/>
              <a:gd name="connsiteX22" fmla="*/ 90369 w 543870"/>
              <a:gd name="connsiteY22" fmla="*/ 459129 h 658369"/>
              <a:gd name="connsiteX23" fmla="*/ 100013 w 543870"/>
              <a:gd name="connsiteY23" fmla="*/ 449485 h 658369"/>
              <a:gd name="connsiteX24" fmla="*/ 100013 w 543870"/>
              <a:gd name="connsiteY24" fmla="*/ 397083 h 658369"/>
              <a:gd name="connsiteX25" fmla="*/ 272384 w 543870"/>
              <a:gd name="connsiteY25" fmla="*/ 397083 h 658369"/>
              <a:gd name="connsiteX26" fmla="*/ 282028 w 543870"/>
              <a:gd name="connsiteY26" fmla="*/ 406727 h 658369"/>
              <a:gd name="connsiteX27" fmla="*/ 272384 w 543870"/>
              <a:gd name="connsiteY27" fmla="*/ 416372 h 658369"/>
              <a:gd name="connsiteX28" fmla="*/ 100013 w 543870"/>
              <a:gd name="connsiteY28" fmla="*/ 416372 h 658369"/>
              <a:gd name="connsiteX29" fmla="*/ 90369 w 543870"/>
              <a:gd name="connsiteY29" fmla="*/ 406727 h 658369"/>
              <a:gd name="connsiteX30" fmla="*/ 100013 w 543870"/>
              <a:gd name="connsiteY30" fmla="*/ 397083 h 658369"/>
              <a:gd name="connsiteX31" fmla="*/ 403306 w 543870"/>
              <a:gd name="connsiteY31" fmla="*/ 321940 h 658369"/>
              <a:gd name="connsiteX32" fmla="*/ 370922 w 543870"/>
              <a:gd name="connsiteY32" fmla="*/ 354325 h 658369"/>
              <a:gd name="connsiteX33" fmla="*/ 403306 w 543870"/>
              <a:gd name="connsiteY33" fmla="*/ 386708 h 658369"/>
              <a:gd name="connsiteX34" fmla="*/ 435687 w 543870"/>
              <a:gd name="connsiteY34" fmla="*/ 354325 h 658369"/>
              <a:gd name="connsiteX35" fmla="*/ 403306 w 543870"/>
              <a:gd name="connsiteY35" fmla="*/ 321940 h 658369"/>
              <a:gd name="connsiteX36" fmla="*/ 403306 w 543870"/>
              <a:gd name="connsiteY36" fmla="*/ 302653 h 658369"/>
              <a:gd name="connsiteX37" fmla="*/ 454976 w 543870"/>
              <a:gd name="connsiteY37" fmla="*/ 354326 h 658369"/>
              <a:gd name="connsiteX38" fmla="*/ 403306 w 543870"/>
              <a:gd name="connsiteY38" fmla="*/ 405998 h 658369"/>
              <a:gd name="connsiteX39" fmla="*/ 351633 w 543870"/>
              <a:gd name="connsiteY39" fmla="*/ 354326 h 658369"/>
              <a:gd name="connsiteX40" fmla="*/ 403306 w 543870"/>
              <a:gd name="connsiteY40" fmla="*/ 302653 h 658369"/>
              <a:gd name="connsiteX41" fmla="*/ 100013 w 543870"/>
              <a:gd name="connsiteY41" fmla="*/ 292278 h 658369"/>
              <a:gd name="connsiteX42" fmla="*/ 272384 w 543870"/>
              <a:gd name="connsiteY42" fmla="*/ 292278 h 658369"/>
              <a:gd name="connsiteX43" fmla="*/ 282028 w 543870"/>
              <a:gd name="connsiteY43" fmla="*/ 301922 h 658369"/>
              <a:gd name="connsiteX44" fmla="*/ 272384 w 543870"/>
              <a:gd name="connsiteY44" fmla="*/ 311567 h 658369"/>
              <a:gd name="connsiteX45" fmla="*/ 100013 w 543870"/>
              <a:gd name="connsiteY45" fmla="*/ 311567 h 658369"/>
              <a:gd name="connsiteX46" fmla="*/ 90369 w 543870"/>
              <a:gd name="connsiteY46" fmla="*/ 301922 h 658369"/>
              <a:gd name="connsiteX47" fmla="*/ 100013 w 543870"/>
              <a:gd name="connsiteY47" fmla="*/ 292278 h 658369"/>
              <a:gd name="connsiteX48" fmla="*/ 100013 w 543870"/>
              <a:gd name="connsiteY48" fmla="*/ 239873 h 658369"/>
              <a:gd name="connsiteX49" fmla="*/ 272384 w 543870"/>
              <a:gd name="connsiteY49" fmla="*/ 239873 h 658369"/>
              <a:gd name="connsiteX50" fmla="*/ 282028 w 543870"/>
              <a:gd name="connsiteY50" fmla="*/ 249517 h 658369"/>
              <a:gd name="connsiteX51" fmla="*/ 272384 w 543870"/>
              <a:gd name="connsiteY51" fmla="*/ 259162 h 658369"/>
              <a:gd name="connsiteX52" fmla="*/ 100013 w 543870"/>
              <a:gd name="connsiteY52" fmla="*/ 259162 h 658369"/>
              <a:gd name="connsiteX53" fmla="*/ 90369 w 543870"/>
              <a:gd name="connsiteY53" fmla="*/ 249517 h 658369"/>
              <a:gd name="connsiteX54" fmla="*/ 100013 w 543870"/>
              <a:gd name="connsiteY54" fmla="*/ 239873 h 658369"/>
              <a:gd name="connsiteX55" fmla="*/ 391740 w 543870"/>
              <a:gd name="connsiteY55" fmla="*/ 233050 h 658369"/>
              <a:gd name="connsiteX56" fmla="*/ 391740 w 543870"/>
              <a:gd name="connsiteY56" fmla="*/ 263992 h 658369"/>
              <a:gd name="connsiteX57" fmla="*/ 384293 w 543870"/>
              <a:gd name="connsiteY57" fmla="*/ 273383 h 658369"/>
              <a:gd name="connsiteX58" fmla="*/ 359515 w 543870"/>
              <a:gd name="connsiteY58" fmla="*/ 283643 h 658369"/>
              <a:gd name="connsiteX59" fmla="*/ 347607 w 543870"/>
              <a:gd name="connsiteY59" fmla="*/ 282270 h 658369"/>
              <a:gd name="connsiteX60" fmla="*/ 325730 w 543870"/>
              <a:gd name="connsiteY60" fmla="*/ 260392 h 658369"/>
              <a:gd name="connsiteX61" fmla="*/ 309374 w 543870"/>
              <a:gd name="connsiteY61" fmla="*/ 276750 h 658369"/>
              <a:gd name="connsiteX62" fmla="*/ 316665 w 543870"/>
              <a:gd name="connsiteY62" fmla="*/ 284042 h 658369"/>
              <a:gd name="connsiteX63" fmla="*/ 331249 w 543870"/>
              <a:gd name="connsiteY63" fmla="*/ 298628 h 658369"/>
              <a:gd name="connsiteX64" fmla="*/ 334063 w 543870"/>
              <a:gd name="connsiteY64" fmla="*/ 305930 h 658369"/>
              <a:gd name="connsiteX65" fmla="*/ 332622 w 543870"/>
              <a:gd name="connsiteY65" fmla="*/ 310535 h 658369"/>
              <a:gd name="connsiteX66" fmla="*/ 322364 w 543870"/>
              <a:gd name="connsiteY66" fmla="*/ 335312 h 658369"/>
              <a:gd name="connsiteX67" fmla="*/ 312973 w 543870"/>
              <a:gd name="connsiteY67" fmla="*/ 342760 h 658369"/>
              <a:gd name="connsiteX68" fmla="*/ 282032 w 543870"/>
              <a:gd name="connsiteY68" fmla="*/ 342760 h 658369"/>
              <a:gd name="connsiteX69" fmla="*/ 282032 w 543870"/>
              <a:gd name="connsiteY69" fmla="*/ 365892 h 658369"/>
              <a:gd name="connsiteX70" fmla="*/ 312973 w 543870"/>
              <a:gd name="connsiteY70" fmla="*/ 365892 h 658369"/>
              <a:gd name="connsiteX71" fmla="*/ 322364 w 543870"/>
              <a:gd name="connsiteY71" fmla="*/ 373339 h 658369"/>
              <a:gd name="connsiteX72" fmla="*/ 332622 w 543870"/>
              <a:gd name="connsiteY72" fmla="*/ 398116 h 658369"/>
              <a:gd name="connsiteX73" fmla="*/ 331249 w 543870"/>
              <a:gd name="connsiteY73" fmla="*/ 410027 h 658369"/>
              <a:gd name="connsiteX74" fmla="*/ 309372 w 543870"/>
              <a:gd name="connsiteY74" fmla="*/ 431903 h 658369"/>
              <a:gd name="connsiteX75" fmla="*/ 325730 w 543870"/>
              <a:gd name="connsiteY75" fmla="*/ 448261 h 658369"/>
              <a:gd name="connsiteX76" fmla="*/ 347607 w 543870"/>
              <a:gd name="connsiteY76" fmla="*/ 426383 h 658369"/>
              <a:gd name="connsiteX77" fmla="*/ 359515 w 543870"/>
              <a:gd name="connsiteY77" fmla="*/ 425010 h 658369"/>
              <a:gd name="connsiteX78" fmla="*/ 384293 w 543870"/>
              <a:gd name="connsiteY78" fmla="*/ 435270 h 658369"/>
              <a:gd name="connsiteX79" fmla="*/ 391740 w 543870"/>
              <a:gd name="connsiteY79" fmla="*/ 444660 h 658369"/>
              <a:gd name="connsiteX80" fmla="*/ 391740 w 543870"/>
              <a:gd name="connsiteY80" fmla="*/ 475602 h 658369"/>
              <a:gd name="connsiteX81" fmla="*/ 414872 w 543870"/>
              <a:gd name="connsiteY81" fmla="*/ 475602 h 658369"/>
              <a:gd name="connsiteX82" fmla="*/ 414872 w 543870"/>
              <a:gd name="connsiteY82" fmla="*/ 444660 h 658369"/>
              <a:gd name="connsiteX83" fmla="*/ 422320 w 543870"/>
              <a:gd name="connsiteY83" fmla="*/ 435270 h 658369"/>
              <a:gd name="connsiteX84" fmla="*/ 447097 w 543870"/>
              <a:gd name="connsiteY84" fmla="*/ 425010 h 658369"/>
              <a:gd name="connsiteX85" fmla="*/ 459006 w 543870"/>
              <a:gd name="connsiteY85" fmla="*/ 426382 h 658369"/>
              <a:gd name="connsiteX86" fmla="*/ 480884 w 543870"/>
              <a:gd name="connsiteY86" fmla="*/ 448260 h 658369"/>
              <a:gd name="connsiteX87" fmla="*/ 497240 w 543870"/>
              <a:gd name="connsiteY87" fmla="*/ 431902 h 658369"/>
              <a:gd name="connsiteX88" fmla="*/ 475363 w 543870"/>
              <a:gd name="connsiteY88" fmla="*/ 410025 h 658369"/>
              <a:gd name="connsiteX89" fmla="*/ 473990 w 543870"/>
              <a:gd name="connsiteY89" fmla="*/ 398117 h 658369"/>
              <a:gd name="connsiteX90" fmla="*/ 484250 w 543870"/>
              <a:gd name="connsiteY90" fmla="*/ 373337 h 658369"/>
              <a:gd name="connsiteX91" fmla="*/ 493641 w 543870"/>
              <a:gd name="connsiteY91" fmla="*/ 365890 h 658369"/>
              <a:gd name="connsiteX92" fmla="*/ 524583 w 543870"/>
              <a:gd name="connsiteY92" fmla="*/ 365890 h 658369"/>
              <a:gd name="connsiteX93" fmla="*/ 524583 w 543870"/>
              <a:gd name="connsiteY93" fmla="*/ 342760 h 658369"/>
              <a:gd name="connsiteX94" fmla="*/ 493642 w 543870"/>
              <a:gd name="connsiteY94" fmla="*/ 342760 h 658369"/>
              <a:gd name="connsiteX95" fmla="*/ 484251 w 543870"/>
              <a:gd name="connsiteY95" fmla="*/ 335314 h 658369"/>
              <a:gd name="connsiteX96" fmla="*/ 473991 w 543870"/>
              <a:gd name="connsiteY96" fmla="*/ 310533 h 658369"/>
              <a:gd name="connsiteX97" fmla="*/ 475365 w 543870"/>
              <a:gd name="connsiteY97" fmla="*/ 298625 h 658369"/>
              <a:gd name="connsiteX98" fmla="*/ 497241 w 543870"/>
              <a:gd name="connsiteY98" fmla="*/ 276747 h 658369"/>
              <a:gd name="connsiteX99" fmla="*/ 480884 w 543870"/>
              <a:gd name="connsiteY99" fmla="*/ 260389 h 658369"/>
              <a:gd name="connsiteX100" fmla="*/ 459006 w 543870"/>
              <a:gd name="connsiteY100" fmla="*/ 282267 h 658369"/>
              <a:gd name="connsiteX101" fmla="*/ 447099 w 543870"/>
              <a:gd name="connsiteY101" fmla="*/ 283641 h 658369"/>
              <a:gd name="connsiteX102" fmla="*/ 422320 w 543870"/>
              <a:gd name="connsiteY102" fmla="*/ 273381 h 658369"/>
              <a:gd name="connsiteX103" fmla="*/ 414872 w 543870"/>
              <a:gd name="connsiteY103" fmla="*/ 263990 h 658369"/>
              <a:gd name="connsiteX104" fmla="*/ 414872 w 543870"/>
              <a:gd name="connsiteY104" fmla="*/ 233050 h 658369"/>
              <a:gd name="connsiteX105" fmla="*/ 60936 w 543870"/>
              <a:gd name="connsiteY105" fmla="*/ 177152 h 658369"/>
              <a:gd name="connsiteX106" fmla="*/ 60936 w 543870"/>
              <a:gd name="connsiteY106" fmla="*/ 532784 h 658369"/>
              <a:gd name="connsiteX107" fmla="*/ 331342 w 543870"/>
              <a:gd name="connsiteY107" fmla="*/ 532784 h 658369"/>
              <a:gd name="connsiteX108" fmla="*/ 331342 w 543870"/>
              <a:gd name="connsiteY108" fmla="*/ 468668 h 658369"/>
              <a:gd name="connsiteX109" fmla="*/ 316063 w 543870"/>
              <a:gd name="connsiteY109" fmla="*/ 465871 h 658369"/>
              <a:gd name="connsiteX110" fmla="*/ 291756 w 543870"/>
              <a:gd name="connsiteY110" fmla="*/ 441564 h 658369"/>
              <a:gd name="connsiteX111" fmla="*/ 291756 w 543870"/>
              <a:gd name="connsiteY111" fmla="*/ 422235 h 658369"/>
              <a:gd name="connsiteX112" fmla="*/ 312411 w 543870"/>
              <a:gd name="connsiteY112" fmla="*/ 401579 h 658369"/>
              <a:gd name="connsiteX113" fmla="*/ 305620 w 543870"/>
              <a:gd name="connsiteY113" fmla="*/ 385177 h 658369"/>
              <a:gd name="connsiteX114" fmla="*/ 276408 w 543870"/>
              <a:gd name="connsiteY114" fmla="*/ 385177 h 658369"/>
              <a:gd name="connsiteX115" fmla="*/ 262740 w 543870"/>
              <a:gd name="connsiteY115" fmla="*/ 371510 h 658369"/>
              <a:gd name="connsiteX116" fmla="*/ 262740 w 543870"/>
              <a:gd name="connsiteY116" fmla="*/ 363967 h 658369"/>
              <a:gd name="connsiteX117" fmla="*/ 100014 w 543870"/>
              <a:gd name="connsiteY117" fmla="*/ 363967 h 658369"/>
              <a:gd name="connsiteX118" fmla="*/ 90370 w 543870"/>
              <a:gd name="connsiteY118" fmla="*/ 354323 h 658369"/>
              <a:gd name="connsiteX119" fmla="*/ 100014 w 543870"/>
              <a:gd name="connsiteY119" fmla="*/ 344679 h 658369"/>
              <a:gd name="connsiteX120" fmla="*/ 262740 w 543870"/>
              <a:gd name="connsiteY120" fmla="*/ 344679 h 658369"/>
              <a:gd name="connsiteX121" fmla="*/ 262740 w 543870"/>
              <a:gd name="connsiteY121" fmla="*/ 337136 h 658369"/>
              <a:gd name="connsiteX122" fmla="*/ 276408 w 543870"/>
              <a:gd name="connsiteY122" fmla="*/ 323468 h 658369"/>
              <a:gd name="connsiteX123" fmla="*/ 305620 w 543870"/>
              <a:gd name="connsiteY123" fmla="*/ 323468 h 658369"/>
              <a:gd name="connsiteX124" fmla="*/ 309635 w 543870"/>
              <a:gd name="connsiteY124" fmla="*/ 312896 h 658369"/>
              <a:gd name="connsiteX125" fmla="*/ 312411 w 543870"/>
              <a:gd name="connsiteY125" fmla="*/ 307067 h 658369"/>
              <a:gd name="connsiteX126" fmla="*/ 291756 w 543870"/>
              <a:gd name="connsiteY126" fmla="*/ 286412 h 658369"/>
              <a:gd name="connsiteX127" fmla="*/ 291756 w 543870"/>
              <a:gd name="connsiteY127" fmla="*/ 267081 h 658369"/>
              <a:gd name="connsiteX128" fmla="*/ 316063 w 543870"/>
              <a:gd name="connsiteY128" fmla="*/ 242774 h 658369"/>
              <a:gd name="connsiteX129" fmla="*/ 331342 w 543870"/>
              <a:gd name="connsiteY129" fmla="*/ 239979 h 658369"/>
              <a:gd name="connsiteX130" fmla="*/ 331342 w 543870"/>
              <a:gd name="connsiteY130" fmla="*/ 177152 h 658369"/>
              <a:gd name="connsiteX131" fmla="*/ 60936 w 543870"/>
              <a:gd name="connsiteY131" fmla="*/ 177152 h 658369"/>
              <a:gd name="connsiteX132" fmla="*/ 117360 w 543870"/>
              <a:gd name="connsiteY132" fmla="*/ 115993 h 658369"/>
              <a:gd name="connsiteX133" fmla="*/ 117360 w 543870"/>
              <a:gd name="connsiteY133" fmla="*/ 157863 h 658369"/>
              <a:gd name="connsiteX134" fmla="*/ 331343 w 543870"/>
              <a:gd name="connsiteY134" fmla="*/ 157863 h 658369"/>
              <a:gd name="connsiteX135" fmla="*/ 331343 w 543870"/>
              <a:gd name="connsiteY135" fmla="*/ 115993 h 658369"/>
              <a:gd name="connsiteX136" fmla="*/ 60936 w 543870"/>
              <a:gd name="connsiteY136" fmla="*/ 115993 h 658369"/>
              <a:gd name="connsiteX137" fmla="*/ 60936 w 543870"/>
              <a:gd name="connsiteY137" fmla="*/ 157863 h 658369"/>
              <a:gd name="connsiteX138" fmla="*/ 98070 w 543870"/>
              <a:gd name="connsiteY138" fmla="*/ 157863 h 658369"/>
              <a:gd name="connsiteX139" fmla="*/ 98070 w 543870"/>
              <a:gd name="connsiteY139" fmla="*/ 115993 h 658369"/>
              <a:gd name="connsiteX140" fmla="*/ 59194 w 543870"/>
              <a:gd name="connsiteY140" fmla="*/ 96701 h 658369"/>
              <a:gd name="connsiteX141" fmla="*/ 333089 w 543870"/>
              <a:gd name="connsiteY141" fmla="*/ 96701 h 658369"/>
              <a:gd name="connsiteX142" fmla="*/ 350635 w 543870"/>
              <a:gd name="connsiteY142" fmla="*/ 114246 h 658369"/>
              <a:gd name="connsiteX143" fmla="*/ 350635 w 543870"/>
              <a:gd name="connsiteY143" fmla="*/ 258016 h 658369"/>
              <a:gd name="connsiteX144" fmla="*/ 356050 w 543870"/>
              <a:gd name="connsiteY144" fmla="*/ 263432 h 658369"/>
              <a:gd name="connsiteX145" fmla="*/ 372452 w 543870"/>
              <a:gd name="connsiteY145" fmla="*/ 256641 h 658369"/>
              <a:gd name="connsiteX146" fmla="*/ 372452 w 543870"/>
              <a:gd name="connsiteY146" fmla="*/ 223666 h 658369"/>
              <a:gd name="connsiteX147" fmla="*/ 372452 w 543870"/>
              <a:gd name="connsiteY147" fmla="*/ 162756 h 658369"/>
              <a:gd name="connsiteX148" fmla="*/ 382635 w 543870"/>
              <a:gd name="connsiteY148" fmla="*/ 153111 h 658369"/>
              <a:gd name="connsiteX149" fmla="*/ 392279 w 543870"/>
              <a:gd name="connsiteY149" fmla="*/ 162756 h 658369"/>
              <a:gd name="connsiteX150" fmla="*/ 392279 w 543870"/>
              <a:gd name="connsiteY150" fmla="*/ 213760 h 658369"/>
              <a:gd name="connsiteX151" fmla="*/ 420494 w 543870"/>
              <a:gd name="connsiteY151" fmla="*/ 213760 h 658369"/>
              <a:gd name="connsiteX152" fmla="*/ 434161 w 543870"/>
              <a:gd name="connsiteY152" fmla="*/ 227427 h 658369"/>
              <a:gd name="connsiteX153" fmla="*/ 434161 w 543870"/>
              <a:gd name="connsiteY153" fmla="*/ 256641 h 658369"/>
              <a:gd name="connsiteX154" fmla="*/ 450564 w 543870"/>
              <a:gd name="connsiteY154" fmla="*/ 263431 h 658369"/>
              <a:gd name="connsiteX155" fmla="*/ 471220 w 543870"/>
              <a:gd name="connsiteY155" fmla="*/ 242774 h 658369"/>
              <a:gd name="connsiteX156" fmla="*/ 490546 w 543870"/>
              <a:gd name="connsiteY156" fmla="*/ 242772 h 658369"/>
              <a:gd name="connsiteX157" fmla="*/ 514855 w 543870"/>
              <a:gd name="connsiteY157" fmla="*/ 267082 h 658369"/>
              <a:gd name="connsiteX158" fmla="*/ 518858 w 543870"/>
              <a:gd name="connsiteY158" fmla="*/ 276746 h 658369"/>
              <a:gd name="connsiteX159" fmla="*/ 514854 w 543870"/>
              <a:gd name="connsiteY159" fmla="*/ 286413 h 658369"/>
              <a:gd name="connsiteX160" fmla="*/ 494200 w 543870"/>
              <a:gd name="connsiteY160" fmla="*/ 307067 h 658369"/>
              <a:gd name="connsiteX161" fmla="*/ 500991 w 543870"/>
              <a:gd name="connsiteY161" fmla="*/ 323469 h 658369"/>
              <a:gd name="connsiteX162" fmla="*/ 530203 w 543870"/>
              <a:gd name="connsiteY162" fmla="*/ 323469 h 658369"/>
              <a:gd name="connsiteX163" fmla="*/ 543870 w 543870"/>
              <a:gd name="connsiteY163" fmla="*/ 337136 h 658369"/>
              <a:gd name="connsiteX164" fmla="*/ 543870 w 543870"/>
              <a:gd name="connsiteY164" fmla="*/ 371512 h 658369"/>
              <a:gd name="connsiteX165" fmla="*/ 530202 w 543870"/>
              <a:gd name="connsiteY165" fmla="*/ 385180 h 658369"/>
              <a:gd name="connsiteX166" fmla="*/ 500990 w 543870"/>
              <a:gd name="connsiteY166" fmla="*/ 385180 h 658369"/>
              <a:gd name="connsiteX167" fmla="*/ 494199 w 543870"/>
              <a:gd name="connsiteY167" fmla="*/ 401582 h 658369"/>
              <a:gd name="connsiteX168" fmla="*/ 514854 w 543870"/>
              <a:gd name="connsiteY168" fmla="*/ 422237 h 658369"/>
              <a:gd name="connsiteX169" fmla="*/ 518857 w 543870"/>
              <a:gd name="connsiteY169" fmla="*/ 431902 h 658369"/>
              <a:gd name="connsiteX170" fmla="*/ 514853 w 543870"/>
              <a:gd name="connsiteY170" fmla="*/ 441568 h 658369"/>
              <a:gd name="connsiteX171" fmla="*/ 490547 w 543870"/>
              <a:gd name="connsiteY171" fmla="*/ 465874 h 658369"/>
              <a:gd name="connsiteX172" fmla="*/ 471219 w 543870"/>
              <a:gd name="connsiteY172" fmla="*/ 465874 h 658369"/>
              <a:gd name="connsiteX173" fmla="*/ 450563 w 543870"/>
              <a:gd name="connsiteY173" fmla="*/ 445217 h 658369"/>
              <a:gd name="connsiteX174" fmla="*/ 434160 w 543870"/>
              <a:gd name="connsiteY174" fmla="*/ 452008 h 658369"/>
              <a:gd name="connsiteX175" fmla="*/ 434160 w 543870"/>
              <a:gd name="connsiteY175" fmla="*/ 481220 h 658369"/>
              <a:gd name="connsiteX176" fmla="*/ 420493 w 543870"/>
              <a:gd name="connsiteY176" fmla="*/ 494889 h 658369"/>
              <a:gd name="connsiteX177" fmla="*/ 392278 w 543870"/>
              <a:gd name="connsiteY177" fmla="*/ 494889 h 658369"/>
              <a:gd name="connsiteX178" fmla="*/ 392278 w 543870"/>
              <a:gd name="connsiteY178" fmla="*/ 617689 h 658369"/>
              <a:gd name="connsiteX179" fmla="*/ 351601 w 543870"/>
              <a:gd name="connsiteY179" fmla="*/ 658366 h 658369"/>
              <a:gd name="connsiteX180" fmla="*/ 218644 w 543870"/>
              <a:gd name="connsiteY180" fmla="*/ 658366 h 658369"/>
              <a:gd name="connsiteX181" fmla="*/ 209000 w 543870"/>
              <a:gd name="connsiteY181" fmla="*/ 648722 h 658369"/>
              <a:gd name="connsiteX182" fmla="*/ 218644 w 543870"/>
              <a:gd name="connsiteY182" fmla="*/ 639078 h 658369"/>
              <a:gd name="connsiteX183" fmla="*/ 351602 w 543870"/>
              <a:gd name="connsiteY183" fmla="*/ 639078 h 658369"/>
              <a:gd name="connsiteX184" fmla="*/ 372990 w 543870"/>
              <a:gd name="connsiteY184" fmla="*/ 617690 h 658369"/>
              <a:gd name="connsiteX185" fmla="*/ 372990 w 543870"/>
              <a:gd name="connsiteY185" fmla="*/ 484986 h 658369"/>
              <a:gd name="connsiteX186" fmla="*/ 372990 w 543870"/>
              <a:gd name="connsiteY186" fmla="*/ 484984 h 658369"/>
              <a:gd name="connsiteX187" fmla="*/ 372451 w 543870"/>
              <a:gd name="connsiteY187" fmla="*/ 452009 h 658369"/>
              <a:gd name="connsiteX188" fmla="*/ 356048 w 543870"/>
              <a:gd name="connsiteY188" fmla="*/ 445217 h 658369"/>
              <a:gd name="connsiteX189" fmla="*/ 350634 w 543870"/>
              <a:gd name="connsiteY189" fmla="*/ 450632 h 658369"/>
              <a:gd name="connsiteX190" fmla="*/ 350634 w 543870"/>
              <a:gd name="connsiteY190" fmla="*/ 534532 h 658369"/>
              <a:gd name="connsiteX191" fmla="*/ 333089 w 543870"/>
              <a:gd name="connsiteY191" fmla="*/ 552076 h 658369"/>
              <a:gd name="connsiteX192" fmla="*/ 59194 w 543870"/>
              <a:gd name="connsiteY192" fmla="*/ 552076 h 658369"/>
              <a:gd name="connsiteX193" fmla="*/ 41649 w 543870"/>
              <a:gd name="connsiteY193" fmla="*/ 534532 h 658369"/>
              <a:gd name="connsiteX194" fmla="*/ 41649 w 543870"/>
              <a:gd name="connsiteY194" fmla="*/ 114246 h 658369"/>
              <a:gd name="connsiteX195" fmla="*/ 59194 w 543870"/>
              <a:gd name="connsiteY195" fmla="*/ 96701 h 658369"/>
              <a:gd name="connsiteX196" fmla="*/ 175873 w 543870"/>
              <a:gd name="connsiteY196" fmla="*/ 48958 h 658369"/>
              <a:gd name="connsiteX197" fmla="*/ 216404 w 543870"/>
              <a:gd name="connsiteY197" fmla="*/ 48958 h 658369"/>
              <a:gd name="connsiteX198" fmla="*/ 226048 w 543870"/>
              <a:gd name="connsiteY198" fmla="*/ 58602 h 658369"/>
              <a:gd name="connsiteX199" fmla="*/ 216404 w 543870"/>
              <a:gd name="connsiteY199" fmla="*/ 68247 h 658369"/>
              <a:gd name="connsiteX200" fmla="*/ 175873 w 543870"/>
              <a:gd name="connsiteY200" fmla="*/ 68247 h 658369"/>
              <a:gd name="connsiteX201" fmla="*/ 166229 w 543870"/>
              <a:gd name="connsiteY201" fmla="*/ 58602 h 658369"/>
              <a:gd name="connsiteX202" fmla="*/ 175873 w 543870"/>
              <a:gd name="connsiteY202" fmla="*/ 48958 h 658369"/>
              <a:gd name="connsiteX203" fmla="*/ 40678 w 543870"/>
              <a:gd name="connsiteY203" fmla="*/ 0 h 658369"/>
              <a:gd name="connsiteX204" fmla="*/ 351602 w 543870"/>
              <a:gd name="connsiteY204" fmla="*/ 0 h 658369"/>
              <a:gd name="connsiteX205" fmla="*/ 392278 w 543870"/>
              <a:gd name="connsiteY205" fmla="*/ 40678 h 658369"/>
              <a:gd name="connsiteX206" fmla="*/ 392278 w 543870"/>
              <a:gd name="connsiteY206" fmla="*/ 117748 h 658369"/>
              <a:gd name="connsiteX207" fmla="*/ 382634 w 543870"/>
              <a:gd name="connsiteY207" fmla="*/ 127392 h 658369"/>
              <a:gd name="connsiteX208" fmla="*/ 372990 w 543870"/>
              <a:gd name="connsiteY208" fmla="*/ 117748 h 658369"/>
              <a:gd name="connsiteX209" fmla="*/ 372990 w 543870"/>
              <a:gd name="connsiteY209" fmla="*/ 40678 h 658369"/>
              <a:gd name="connsiteX210" fmla="*/ 351602 w 543870"/>
              <a:gd name="connsiteY210" fmla="*/ 19290 h 658369"/>
              <a:gd name="connsiteX211" fmla="*/ 40678 w 543870"/>
              <a:gd name="connsiteY211" fmla="*/ 19290 h 658369"/>
              <a:gd name="connsiteX212" fmla="*/ 19290 w 543870"/>
              <a:gd name="connsiteY212" fmla="*/ 40678 h 658369"/>
              <a:gd name="connsiteX213" fmla="*/ 19290 w 543870"/>
              <a:gd name="connsiteY213" fmla="*/ 617693 h 658369"/>
              <a:gd name="connsiteX214" fmla="*/ 40678 w 543870"/>
              <a:gd name="connsiteY214" fmla="*/ 639081 h 658369"/>
              <a:gd name="connsiteX215" fmla="*/ 173634 w 543870"/>
              <a:gd name="connsiteY215" fmla="*/ 639081 h 658369"/>
              <a:gd name="connsiteX216" fmla="*/ 183280 w 543870"/>
              <a:gd name="connsiteY216" fmla="*/ 648725 h 658369"/>
              <a:gd name="connsiteX217" fmla="*/ 173636 w 543870"/>
              <a:gd name="connsiteY217" fmla="*/ 658369 h 658369"/>
              <a:gd name="connsiteX218" fmla="*/ 40678 w 543870"/>
              <a:gd name="connsiteY218" fmla="*/ 658369 h 658369"/>
              <a:gd name="connsiteX219" fmla="*/ 0 w 543870"/>
              <a:gd name="connsiteY219" fmla="*/ 617692 h 658369"/>
              <a:gd name="connsiteX220" fmla="*/ 0 w 543870"/>
              <a:gd name="connsiteY220" fmla="*/ 40678 h 658369"/>
              <a:gd name="connsiteX221" fmla="*/ 40678 w 543870"/>
              <a:gd name="connsiteY221" fmla="*/ 0 h 658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</a:cxnLst>
            <a:rect l="l" t="t" r="r" b="b"/>
            <a:pathLst>
              <a:path w="543870" h="658369">
                <a:moveTo>
                  <a:pt x="169224" y="587020"/>
                </a:moveTo>
                <a:cubicBezTo>
                  <a:pt x="166552" y="587020"/>
                  <a:pt x="164295" y="589277"/>
                  <a:pt x="164295" y="591949"/>
                </a:cubicBezTo>
                <a:lnTo>
                  <a:pt x="164295" y="599279"/>
                </a:lnTo>
                <a:cubicBezTo>
                  <a:pt x="164295" y="601951"/>
                  <a:pt x="166552" y="604209"/>
                  <a:pt x="169224" y="604209"/>
                </a:cubicBezTo>
                <a:lnTo>
                  <a:pt x="223056" y="604209"/>
                </a:lnTo>
                <a:cubicBezTo>
                  <a:pt x="225729" y="604209"/>
                  <a:pt x="227985" y="601951"/>
                  <a:pt x="227985" y="599279"/>
                </a:cubicBezTo>
                <a:lnTo>
                  <a:pt x="227985" y="591949"/>
                </a:lnTo>
                <a:cubicBezTo>
                  <a:pt x="227985" y="589277"/>
                  <a:pt x="225729" y="587020"/>
                  <a:pt x="223056" y="587020"/>
                </a:cubicBezTo>
                <a:close/>
                <a:moveTo>
                  <a:pt x="169224" y="567729"/>
                </a:moveTo>
                <a:lnTo>
                  <a:pt x="223056" y="567729"/>
                </a:lnTo>
                <a:cubicBezTo>
                  <a:pt x="236410" y="567729"/>
                  <a:pt x="247275" y="578592"/>
                  <a:pt x="247275" y="591949"/>
                </a:cubicBezTo>
                <a:lnTo>
                  <a:pt x="247275" y="599279"/>
                </a:lnTo>
                <a:cubicBezTo>
                  <a:pt x="247275" y="612633"/>
                  <a:pt x="236412" y="623499"/>
                  <a:pt x="223056" y="623499"/>
                </a:cubicBezTo>
                <a:lnTo>
                  <a:pt x="169224" y="623499"/>
                </a:lnTo>
                <a:cubicBezTo>
                  <a:pt x="155871" y="623499"/>
                  <a:pt x="145005" y="612634"/>
                  <a:pt x="145005" y="599279"/>
                </a:cubicBezTo>
                <a:lnTo>
                  <a:pt x="145005" y="591949"/>
                </a:lnTo>
                <a:cubicBezTo>
                  <a:pt x="145005" y="578592"/>
                  <a:pt x="155868" y="567729"/>
                  <a:pt x="169224" y="567729"/>
                </a:cubicBezTo>
                <a:close/>
                <a:moveTo>
                  <a:pt x="100013" y="449485"/>
                </a:moveTo>
                <a:lnTo>
                  <a:pt x="272384" y="449485"/>
                </a:lnTo>
                <a:cubicBezTo>
                  <a:pt x="277710" y="449485"/>
                  <a:pt x="282028" y="453802"/>
                  <a:pt x="282028" y="459129"/>
                </a:cubicBezTo>
                <a:cubicBezTo>
                  <a:pt x="282028" y="464457"/>
                  <a:pt x="277710" y="468774"/>
                  <a:pt x="272384" y="468774"/>
                </a:cubicBezTo>
                <a:lnTo>
                  <a:pt x="100013" y="468774"/>
                </a:lnTo>
                <a:cubicBezTo>
                  <a:pt x="94687" y="468774"/>
                  <a:pt x="90369" y="464457"/>
                  <a:pt x="90369" y="459129"/>
                </a:cubicBezTo>
                <a:cubicBezTo>
                  <a:pt x="90369" y="453802"/>
                  <a:pt x="94687" y="449485"/>
                  <a:pt x="100013" y="449485"/>
                </a:cubicBezTo>
                <a:close/>
                <a:moveTo>
                  <a:pt x="100013" y="397083"/>
                </a:moveTo>
                <a:lnTo>
                  <a:pt x="272384" y="397083"/>
                </a:lnTo>
                <a:cubicBezTo>
                  <a:pt x="277710" y="397083"/>
                  <a:pt x="282028" y="401400"/>
                  <a:pt x="282028" y="406727"/>
                </a:cubicBezTo>
                <a:cubicBezTo>
                  <a:pt x="282028" y="412055"/>
                  <a:pt x="277710" y="416372"/>
                  <a:pt x="272384" y="416372"/>
                </a:cubicBezTo>
                <a:lnTo>
                  <a:pt x="100013" y="416372"/>
                </a:lnTo>
                <a:cubicBezTo>
                  <a:pt x="94687" y="416372"/>
                  <a:pt x="90369" y="412055"/>
                  <a:pt x="90369" y="406727"/>
                </a:cubicBezTo>
                <a:cubicBezTo>
                  <a:pt x="90369" y="401400"/>
                  <a:pt x="94687" y="397083"/>
                  <a:pt x="100013" y="397083"/>
                </a:cubicBezTo>
                <a:close/>
                <a:moveTo>
                  <a:pt x="403306" y="321940"/>
                </a:moveTo>
                <a:cubicBezTo>
                  <a:pt x="385448" y="321940"/>
                  <a:pt x="370922" y="336469"/>
                  <a:pt x="370922" y="354325"/>
                </a:cubicBezTo>
                <a:cubicBezTo>
                  <a:pt x="370922" y="372180"/>
                  <a:pt x="385449" y="386708"/>
                  <a:pt x="403306" y="386708"/>
                </a:cubicBezTo>
                <a:cubicBezTo>
                  <a:pt x="421160" y="386708"/>
                  <a:pt x="435687" y="372180"/>
                  <a:pt x="435687" y="354325"/>
                </a:cubicBezTo>
                <a:cubicBezTo>
                  <a:pt x="435687" y="336469"/>
                  <a:pt x="421162" y="321940"/>
                  <a:pt x="403306" y="321940"/>
                </a:cubicBezTo>
                <a:close/>
                <a:moveTo>
                  <a:pt x="403306" y="302653"/>
                </a:moveTo>
                <a:cubicBezTo>
                  <a:pt x="431797" y="302653"/>
                  <a:pt x="454978" y="325833"/>
                  <a:pt x="454976" y="354326"/>
                </a:cubicBezTo>
                <a:cubicBezTo>
                  <a:pt x="454976" y="382818"/>
                  <a:pt x="431797" y="405998"/>
                  <a:pt x="403306" y="405998"/>
                </a:cubicBezTo>
                <a:cubicBezTo>
                  <a:pt x="374813" y="405998"/>
                  <a:pt x="351633" y="382818"/>
                  <a:pt x="351633" y="354326"/>
                </a:cubicBezTo>
                <a:cubicBezTo>
                  <a:pt x="351633" y="325833"/>
                  <a:pt x="374814" y="302653"/>
                  <a:pt x="403306" y="302653"/>
                </a:cubicBezTo>
                <a:close/>
                <a:moveTo>
                  <a:pt x="100013" y="292278"/>
                </a:moveTo>
                <a:lnTo>
                  <a:pt x="272384" y="292278"/>
                </a:lnTo>
                <a:cubicBezTo>
                  <a:pt x="277710" y="292278"/>
                  <a:pt x="282029" y="296595"/>
                  <a:pt x="282028" y="301922"/>
                </a:cubicBezTo>
                <a:cubicBezTo>
                  <a:pt x="282028" y="307250"/>
                  <a:pt x="277710" y="311567"/>
                  <a:pt x="272384" y="311567"/>
                </a:cubicBezTo>
                <a:lnTo>
                  <a:pt x="100013" y="311567"/>
                </a:lnTo>
                <a:cubicBezTo>
                  <a:pt x="94687" y="311567"/>
                  <a:pt x="90369" y="307250"/>
                  <a:pt x="90369" y="301922"/>
                </a:cubicBezTo>
                <a:cubicBezTo>
                  <a:pt x="90369" y="296595"/>
                  <a:pt x="94687" y="292278"/>
                  <a:pt x="100013" y="292278"/>
                </a:cubicBezTo>
                <a:close/>
                <a:moveTo>
                  <a:pt x="100013" y="239873"/>
                </a:moveTo>
                <a:lnTo>
                  <a:pt x="272384" y="239873"/>
                </a:lnTo>
                <a:cubicBezTo>
                  <a:pt x="277710" y="239873"/>
                  <a:pt x="282029" y="244190"/>
                  <a:pt x="282028" y="249517"/>
                </a:cubicBezTo>
                <a:cubicBezTo>
                  <a:pt x="282028" y="254845"/>
                  <a:pt x="277710" y="259162"/>
                  <a:pt x="272384" y="259162"/>
                </a:cubicBezTo>
                <a:lnTo>
                  <a:pt x="100013" y="259162"/>
                </a:lnTo>
                <a:cubicBezTo>
                  <a:pt x="94687" y="259162"/>
                  <a:pt x="90369" y="254845"/>
                  <a:pt x="90369" y="249517"/>
                </a:cubicBezTo>
                <a:cubicBezTo>
                  <a:pt x="90369" y="244190"/>
                  <a:pt x="94687" y="239873"/>
                  <a:pt x="100013" y="239873"/>
                </a:cubicBezTo>
                <a:close/>
                <a:moveTo>
                  <a:pt x="391740" y="233050"/>
                </a:moveTo>
                <a:lnTo>
                  <a:pt x="391740" y="263992"/>
                </a:lnTo>
                <a:cubicBezTo>
                  <a:pt x="391740" y="268474"/>
                  <a:pt x="388656" y="272364"/>
                  <a:pt x="384293" y="273383"/>
                </a:cubicBezTo>
                <a:cubicBezTo>
                  <a:pt x="375502" y="275441"/>
                  <a:pt x="367166" y="278892"/>
                  <a:pt x="359515" y="283643"/>
                </a:cubicBezTo>
                <a:cubicBezTo>
                  <a:pt x="355708" y="286008"/>
                  <a:pt x="350774" y="285438"/>
                  <a:pt x="347607" y="282270"/>
                </a:cubicBezTo>
                <a:lnTo>
                  <a:pt x="325730" y="260392"/>
                </a:lnTo>
                <a:lnTo>
                  <a:pt x="309374" y="276750"/>
                </a:lnTo>
                <a:lnTo>
                  <a:pt x="316665" y="284042"/>
                </a:lnTo>
                <a:lnTo>
                  <a:pt x="331249" y="298628"/>
                </a:lnTo>
                <a:cubicBezTo>
                  <a:pt x="333229" y="300606"/>
                  <a:pt x="334195" y="303277"/>
                  <a:pt x="334063" y="305930"/>
                </a:cubicBezTo>
                <a:cubicBezTo>
                  <a:pt x="333983" y="307522"/>
                  <a:pt x="333508" y="309107"/>
                  <a:pt x="332622" y="310535"/>
                </a:cubicBezTo>
                <a:cubicBezTo>
                  <a:pt x="327793" y="318312"/>
                  <a:pt x="324337" y="326878"/>
                  <a:pt x="322364" y="335312"/>
                </a:cubicBezTo>
                <a:cubicBezTo>
                  <a:pt x="321343" y="339675"/>
                  <a:pt x="317453" y="342760"/>
                  <a:pt x="312973" y="342760"/>
                </a:cubicBezTo>
                <a:lnTo>
                  <a:pt x="282032" y="342760"/>
                </a:lnTo>
                <a:lnTo>
                  <a:pt x="282032" y="365892"/>
                </a:lnTo>
                <a:lnTo>
                  <a:pt x="312973" y="365892"/>
                </a:lnTo>
                <a:cubicBezTo>
                  <a:pt x="317453" y="365892"/>
                  <a:pt x="321344" y="368976"/>
                  <a:pt x="322364" y="373339"/>
                </a:cubicBezTo>
                <a:cubicBezTo>
                  <a:pt x="324411" y="382091"/>
                  <a:pt x="327868" y="390461"/>
                  <a:pt x="332622" y="398116"/>
                </a:cubicBezTo>
                <a:cubicBezTo>
                  <a:pt x="334986" y="401922"/>
                  <a:pt x="334419" y="406857"/>
                  <a:pt x="331249" y="410027"/>
                </a:cubicBezTo>
                <a:lnTo>
                  <a:pt x="309372" y="431903"/>
                </a:lnTo>
                <a:lnTo>
                  <a:pt x="325730" y="448261"/>
                </a:lnTo>
                <a:lnTo>
                  <a:pt x="347607" y="426383"/>
                </a:lnTo>
                <a:cubicBezTo>
                  <a:pt x="350776" y="423215"/>
                  <a:pt x="355710" y="422646"/>
                  <a:pt x="359515" y="425010"/>
                </a:cubicBezTo>
                <a:cubicBezTo>
                  <a:pt x="367167" y="429762"/>
                  <a:pt x="375505" y="433214"/>
                  <a:pt x="384293" y="435270"/>
                </a:cubicBezTo>
                <a:cubicBezTo>
                  <a:pt x="388656" y="436289"/>
                  <a:pt x="391740" y="440180"/>
                  <a:pt x="391740" y="444660"/>
                </a:cubicBezTo>
                <a:lnTo>
                  <a:pt x="391740" y="475602"/>
                </a:lnTo>
                <a:lnTo>
                  <a:pt x="414872" y="475602"/>
                </a:lnTo>
                <a:lnTo>
                  <a:pt x="414872" y="444660"/>
                </a:lnTo>
                <a:cubicBezTo>
                  <a:pt x="414872" y="440179"/>
                  <a:pt x="417957" y="436289"/>
                  <a:pt x="422320" y="435270"/>
                </a:cubicBezTo>
                <a:cubicBezTo>
                  <a:pt x="431106" y="433214"/>
                  <a:pt x="439444" y="429761"/>
                  <a:pt x="447097" y="425010"/>
                </a:cubicBezTo>
                <a:cubicBezTo>
                  <a:pt x="450906" y="422645"/>
                  <a:pt x="455836" y="423216"/>
                  <a:pt x="459006" y="426382"/>
                </a:cubicBezTo>
                <a:lnTo>
                  <a:pt x="480884" y="448260"/>
                </a:lnTo>
                <a:lnTo>
                  <a:pt x="497240" y="431902"/>
                </a:lnTo>
                <a:lnTo>
                  <a:pt x="475363" y="410025"/>
                </a:lnTo>
                <a:cubicBezTo>
                  <a:pt x="472195" y="406856"/>
                  <a:pt x="471627" y="401923"/>
                  <a:pt x="473990" y="398117"/>
                </a:cubicBezTo>
                <a:cubicBezTo>
                  <a:pt x="478741" y="390465"/>
                  <a:pt x="482193" y="382127"/>
                  <a:pt x="484250" y="373337"/>
                </a:cubicBezTo>
                <a:cubicBezTo>
                  <a:pt x="485271" y="368975"/>
                  <a:pt x="489161" y="365890"/>
                  <a:pt x="493641" y="365890"/>
                </a:cubicBezTo>
                <a:lnTo>
                  <a:pt x="524583" y="365890"/>
                </a:lnTo>
                <a:lnTo>
                  <a:pt x="524583" y="342760"/>
                </a:lnTo>
                <a:lnTo>
                  <a:pt x="493642" y="342760"/>
                </a:lnTo>
                <a:cubicBezTo>
                  <a:pt x="489162" y="342760"/>
                  <a:pt x="485271" y="339675"/>
                  <a:pt x="484251" y="335314"/>
                </a:cubicBezTo>
                <a:cubicBezTo>
                  <a:pt x="482195" y="326523"/>
                  <a:pt x="478743" y="318186"/>
                  <a:pt x="473991" y="310533"/>
                </a:cubicBezTo>
                <a:cubicBezTo>
                  <a:pt x="471628" y="306726"/>
                  <a:pt x="472196" y="301793"/>
                  <a:pt x="475365" y="298625"/>
                </a:cubicBezTo>
                <a:lnTo>
                  <a:pt x="497241" y="276747"/>
                </a:lnTo>
                <a:lnTo>
                  <a:pt x="480884" y="260389"/>
                </a:lnTo>
                <a:lnTo>
                  <a:pt x="459006" y="282267"/>
                </a:lnTo>
                <a:cubicBezTo>
                  <a:pt x="455837" y="285434"/>
                  <a:pt x="450904" y="286003"/>
                  <a:pt x="447099" y="283641"/>
                </a:cubicBezTo>
                <a:cubicBezTo>
                  <a:pt x="439446" y="278888"/>
                  <a:pt x="431109" y="275437"/>
                  <a:pt x="422320" y="273381"/>
                </a:cubicBezTo>
                <a:cubicBezTo>
                  <a:pt x="417957" y="272360"/>
                  <a:pt x="414872" y="268470"/>
                  <a:pt x="414872" y="263990"/>
                </a:cubicBezTo>
                <a:lnTo>
                  <a:pt x="414872" y="233050"/>
                </a:lnTo>
                <a:close/>
                <a:moveTo>
                  <a:pt x="60936" y="177152"/>
                </a:moveTo>
                <a:lnTo>
                  <a:pt x="60936" y="532784"/>
                </a:lnTo>
                <a:lnTo>
                  <a:pt x="331342" y="532784"/>
                </a:lnTo>
                <a:lnTo>
                  <a:pt x="331342" y="468668"/>
                </a:lnTo>
                <a:cubicBezTo>
                  <a:pt x="326170" y="470986"/>
                  <a:pt x="320053" y="469858"/>
                  <a:pt x="316063" y="465871"/>
                </a:cubicBezTo>
                <a:lnTo>
                  <a:pt x="291756" y="441564"/>
                </a:lnTo>
                <a:cubicBezTo>
                  <a:pt x="286427" y="436235"/>
                  <a:pt x="286427" y="427565"/>
                  <a:pt x="291756" y="422235"/>
                </a:cubicBezTo>
                <a:lnTo>
                  <a:pt x="312411" y="401579"/>
                </a:lnTo>
                <a:cubicBezTo>
                  <a:pt x="309468" y="395925"/>
                  <a:pt x="307274" y="390426"/>
                  <a:pt x="305620" y="385177"/>
                </a:cubicBezTo>
                <a:lnTo>
                  <a:pt x="276408" y="385177"/>
                </a:lnTo>
                <a:cubicBezTo>
                  <a:pt x="268869" y="385177"/>
                  <a:pt x="262740" y="379044"/>
                  <a:pt x="262740" y="371510"/>
                </a:cubicBezTo>
                <a:lnTo>
                  <a:pt x="262740" y="363967"/>
                </a:lnTo>
                <a:lnTo>
                  <a:pt x="100014" y="363967"/>
                </a:lnTo>
                <a:cubicBezTo>
                  <a:pt x="94688" y="363967"/>
                  <a:pt x="90370" y="359650"/>
                  <a:pt x="90370" y="354323"/>
                </a:cubicBezTo>
                <a:cubicBezTo>
                  <a:pt x="90370" y="348995"/>
                  <a:pt x="94688" y="344679"/>
                  <a:pt x="100014" y="344679"/>
                </a:cubicBezTo>
                <a:lnTo>
                  <a:pt x="262740" y="344679"/>
                </a:lnTo>
                <a:lnTo>
                  <a:pt x="262740" y="337136"/>
                </a:lnTo>
                <a:cubicBezTo>
                  <a:pt x="262740" y="329598"/>
                  <a:pt x="268873" y="323468"/>
                  <a:pt x="276408" y="323468"/>
                </a:cubicBezTo>
                <a:lnTo>
                  <a:pt x="305620" y="323468"/>
                </a:lnTo>
                <a:cubicBezTo>
                  <a:pt x="306756" y="319865"/>
                  <a:pt x="308110" y="316343"/>
                  <a:pt x="309635" y="312896"/>
                </a:cubicBezTo>
                <a:cubicBezTo>
                  <a:pt x="310505" y="310927"/>
                  <a:pt x="311416" y="308978"/>
                  <a:pt x="312411" y="307067"/>
                </a:cubicBezTo>
                <a:lnTo>
                  <a:pt x="291756" y="286412"/>
                </a:lnTo>
                <a:cubicBezTo>
                  <a:pt x="286467" y="281125"/>
                  <a:pt x="286368" y="272470"/>
                  <a:pt x="291756" y="267081"/>
                </a:cubicBezTo>
                <a:lnTo>
                  <a:pt x="316063" y="242774"/>
                </a:lnTo>
                <a:cubicBezTo>
                  <a:pt x="320142" y="238698"/>
                  <a:pt x="326297" y="237710"/>
                  <a:pt x="331342" y="239979"/>
                </a:cubicBezTo>
                <a:lnTo>
                  <a:pt x="331342" y="177152"/>
                </a:lnTo>
                <a:cubicBezTo>
                  <a:pt x="321206" y="177152"/>
                  <a:pt x="75189" y="177152"/>
                  <a:pt x="60936" y="177152"/>
                </a:cubicBezTo>
                <a:close/>
                <a:moveTo>
                  <a:pt x="117360" y="115993"/>
                </a:moveTo>
                <a:lnTo>
                  <a:pt x="117360" y="157863"/>
                </a:lnTo>
                <a:lnTo>
                  <a:pt x="331343" y="157863"/>
                </a:lnTo>
                <a:lnTo>
                  <a:pt x="331343" y="115993"/>
                </a:lnTo>
                <a:close/>
                <a:moveTo>
                  <a:pt x="60936" y="115993"/>
                </a:moveTo>
                <a:lnTo>
                  <a:pt x="60936" y="157863"/>
                </a:lnTo>
                <a:lnTo>
                  <a:pt x="98070" y="157863"/>
                </a:lnTo>
                <a:lnTo>
                  <a:pt x="98070" y="115993"/>
                </a:lnTo>
                <a:close/>
                <a:moveTo>
                  <a:pt x="59194" y="96701"/>
                </a:moveTo>
                <a:cubicBezTo>
                  <a:pt x="74080" y="96701"/>
                  <a:pt x="323689" y="96701"/>
                  <a:pt x="333089" y="96701"/>
                </a:cubicBezTo>
                <a:cubicBezTo>
                  <a:pt x="342767" y="96701"/>
                  <a:pt x="350635" y="104575"/>
                  <a:pt x="350635" y="114246"/>
                </a:cubicBezTo>
                <a:lnTo>
                  <a:pt x="350635" y="258016"/>
                </a:lnTo>
                <a:lnTo>
                  <a:pt x="356050" y="263432"/>
                </a:lnTo>
                <a:cubicBezTo>
                  <a:pt x="361308" y="260693"/>
                  <a:pt x="366791" y="258425"/>
                  <a:pt x="372452" y="256641"/>
                </a:cubicBezTo>
                <a:lnTo>
                  <a:pt x="372452" y="223666"/>
                </a:lnTo>
                <a:lnTo>
                  <a:pt x="372452" y="162756"/>
                </a:lnTo>
                <a:cubicBezTo>
                  <a:pt x="372452" y="157428"/>
                  <a:pt x="377309" y="153111"/>
                  <a:pt x="382635" y="153111"/>
                </a:cubicBezTo>
                <a:cubicBezTo>
                  <a:pt x="387961" y="153111"/>
                  <a:pt x="392279" y="157428"/>
                  <a:pt x="392279" y="162756"/>
                </a:cubicBezTo>
                <a:lnTo>
                  <a:pt x="392279" y="213760"/>
                </a:lnTo>
                <a:lnTo>
                  <a:pt x="420494" y="213760"/>
                </a:lnTo>
                <a:cubicBezTo>
                  <a:pt x="428030" y="213760"/>
                  <a:pt x="434161" y="219892"/>
                  <a:pt x="434161" y="227427"/>
                </a:cubicBezTo>
                <a:lnTo>
                  <a:pt x="434161" y="256641"/>
                </a:lnTo>
                <a:cubicBezTo>
                  <a:pt x="439822" y="258423"/>
                  <a:pt x="445305" y="260693"/>
                  <a:pt x="450564" y="263431"/>
                </a:cubicBezTo>
                <a:lnTo>
                  <a:pt x="471220" y="242774"/>
                </a:lnTo>
                <a:cubicBezTo>
                  <a:pt x="476550" y="237452"/>
                  <a:pt x="485218" y="237449"/>
                  <a:pt x="490546" y="242772"/>
                </a:cubicBezTo>
                <a:lnTo>
                  <a:pt x="514855" y="267082"/>
                </a:lnTo>
                <a:cubicBezTo>
                  <a:pt x="517436" y="269662"/>
                  <a:pt x="518858" y="273095"/>
                  <a:pt x="518858" y="276746"/>
                </a:cubicBezTo>
                <a:cubicBezTo>
                  <a:pt x="518858" y="280398"/>
                  <a:pt x="517436" y="283831"/>
                  <a:pt x="514854" y="286413"/>
                </a:cubicBezTo>
                <a:lnTo>
                  <a:pt x="494200" y="307067"/>
                </a:lnTo>
                <a:cubicBezTo>
                  <a:pt x="496938" y="312326"/>
                  <a:pt x="499207" y="317810"/>
                  <a:pt x="500991" y="323469"/>
                </a:cubicBezTo>
                <a:lnTo>
                  <a:pt x="530203" y="323469"/>
                </a:lnTo>
                <a:cubicBezTo>
                  <a:pt x="537740" y="323469"/>
                  <a:pt x="543871" y="329602"/>
                  <a:pt x="543870" y="337136"/>
                </a:cubicBezTo>
                <a:lnTo>
                  <a:pt x="543870" y="371512"/>
                </a:lnTo>
                <a:cubicBezTo>
                  <a:pt x="543870" y="379049"/>
                  <a:pt x="537737" y="385180"/>
                  <a:pt x="530202" y="385180"/>
                </a:cubicBezTo>
                <a:lnTo>
                  <a:pt x="500990" y="385180"/>
                </a:lnTo>
                <a:cubicBezTo>
                  <a:pt x="499207" y="390841"/>
                  <a:pt x="496937" y="396323"/>
                  <a:pt x="494199" y="401582"/>
                </a:cubicBezTo>
                <a:lnTo>
                  <a:pt x="514854" y="422237"/>
                </a:lnTo>
                <a:cubicBezTo>
                  <a:pt x="517435" y="424818"/>
                  <a:pt x="518857" y="428250"/>
                  <a:pt x="518857" y="431902"/>
                </a:cubicBezTo>
                <a:cubicBezTo>
                  <a:pt x="518857" y="435554"/>
                  <a:pt x="517435" y="438986"/>
                  <a:pt x="514853" y="441568"/>
                </a:cubicBezTo>
                <a:lnTo>
                  <a:pt x="490547" y="465874"/>
                </a:lnTo>
                <a:cubicBezTo>
                  <a:pt x="485220" y="471201"/>
                  <a:pt x="476548" y="471201"/>
                  <a:pt x="471219" y="465874"/>
                </a:cubicBezTo>
                <a:lnTo>
                  <a:pt x="450563" y="445217"/>
                </a:lnTo>
                <a:cubicBezTo>
                  <a:pt x="445304" y="447956"/>
                  <a:pt x="439821" y="450224"/>
                  <a:pt x="434160" y="452008"/>
                </a:cubicBezTo>
                <a:lnTo>
                  <a:pt x="434160" y="481220"/>
                </a:lnTo>
                <a:cubicBezTo>
                  <a:pt x="434160" y="488757"/>
                  <a:pt x="428028" y="494889"/>
                  <a:pt x="420493" y="494889"/>
                </a:cubicBezTo>
                <a:lnTo>
                  <a:pt x="392278" y="494889"/>
                </a:lnTo>
                <a:lnTo>
                  <a:pt x="392278" y="617689"/>
                </a:lnTo>
                <a:cubicBezTo>
                  <a:pt x="392278" y="640119"/>
                  <a:pt x="374030" y="658366"/>
                  <a:pt x="351601" y="658366"/>
                </a:cubicBezTo>
                <a:lnTo>
                  <a:pt x="218644" y="658366"/>
                </a:lnTo>
                <a:cubicBezTo>
                  <a:pt x="213318" y="658366"/>
                  <a:pt x="209000" y="654050"/>
                  <a:pt x="209000" y="648722"/>
                </a:cubicBezTo>
                <a:cubicBezTo>
                  <a:pt x="209000" y="643395"/>
                  <a:pt x="213318" y="639078"/>
                  <a:pt x="218644" y="639078"/>
                </a:cubicBezTo>
                <a:lnTo>
                  <a:pt x="351602" y="639078"/>
                </a:lnTo>
                <a:cubicBezTo>
                  <a:pt x="363396" y="639078"/>
                  <a:pt x="372990" y="629484"/>
                  <a:pt x="372990" y="617690"/>
                </a:cubicBezTo>
                <a:lnTo>
                  <a:pt x="372990" y="484986"/>
                </a:lnTo>
                <a:lnTo>
                  <a:pt x="372990" y="484984"/>
                </a:lnTo>
                <a:cubicBezTo>
                  <a:pt x="372267" y="482468"/>
                  <a:pt x="372451" y="483008"/>
                  <a:pt x="372451" y="452009"/>
                </a:cubicBezTo>
                <a:cubicBezTo>
                  <a:pt x="366791" y="450227"/>
                  <a:pt x="361308" y="447957"/>
                  <a:pt x="356048" y="445217"/>
                </a:cubicBezTo>
                <a:lnTo>
                  <a:pt x="350634" y="450632"/>
                </a:lnTo>
                <a:lnTo>
                  <a:pt x="350634" y="534532"/>
                </a:lnTo>
                <a:cubicBezTo>
                  <a:pt x="350634" y="544206"/>
                  <a:pt x="342763" y="552076"/>
                  <a:pt x="333089" y="552076"/>
                </a:cubicBezTo>
                <a:lnTo>
                  <a:pt x="59194" y="552076"/>
                </a:lnTo>
                <a:cubicBezTo>
                  <a:pt x="49519" y="552076"/>
                  <a:pt x="41649" y="544204"/>
                  <a:pt x="41649" y="534532"/>
                </a:cubicBezTo>
                <a:lnTo>
                  <a:pt x="41649" y="114246"/>
                </a:lnTo>
                <a:cubicBezTo>
                  <a:pt x="41649" y="104571"/>
                  <a:pt x="49520" y="96701"/>
                  <a:pt x="59194" y="96701"/>
                </a:cubicBezTo>
                <a:close/>
                <a:moveTo>
                  <a:pt x="175873" y="48958"/>
                </a:moveTo>
                <a:lnTo>
                  <a:pt x="216404" y="48958"/>
                </a:lnTo>
                <a:cubicBezTo>
                  <a:pt x="221732" y="48958"/>
                  <a:pt x="226048" y="53275"/>
                  <a:pt x="226048" y="58602"/>
                </a:cubicBezTo>
                <a:cubicBezTo>
                  <a:pt x="226048" y="63930"/>
                  <a:pt x="221730" y="68247"/>
                  <a:pt x="216404" y="68247"/>
                </a:cubicBezTo>
                <a:lnTo>
                  <a:pt x="175873" y="68247"/>
                </a:lnTo>
                <a:cubicBezTo>
                  <a:pt x="170547" y="68247"/>
                  <a:pt x="166229" y="63930"/>
                  <a:pt x="166229" y="58602"/>
                </a:cubicBezTo>
                <a:cubicBezTo>
                  <a:pt x="166229" y="53275"/>
                  <a:pt x="170547" y="48958"/>
                  <a:pt x="175873" y="48958"/>
                </a:cubicBezTo>
                <a:close/>
                <a:moveTo>
                  <a:pt x="40678" y="0"/>
                </a:moveTo>
                <a:lnTo>
                  <a:pt x="351602" y="0"/>
                </a:lnTo>
                <a:cubicBezTo>
                  <a:pt x="374030" y="0"/>
                  <a:pt x="392278" y="18248"/>
                  <a:pt x="392278" y="40678"/>
                </a:cubicBezTo>
                <a:lnTo>
                  <a:pt x="392278" y="117748"/>
                </a:lnTo>
                <a:cubicBezTo>
                  <a:pt x="392278" y="123075"/>
                  <a:pt x="387960" y="127392"/>
                  <a:pt x="382634" y="127392"/>
                </a:cubicBezTo>
                <a:cubicBezTo>
                  <a:pt x="377308" y="127392"/>
                  <a:pt x="372990" y="123075"/>
                  <a:pt x="372990" y="117748"/>
                </a:cubicBezTo>
                <a:lnTo>
                  <a:pt x="372990" y="40678"/>
                </a:lnTo>
                <a:cubicBezTo>
                  <a:pt x="372990" y="28884"/>
                  <a:pt x="363396" y="19290"/>
                  <a:pt x="351602" y="19290"/>
                </a:cubicBezTo>
                <a:lnTo>
                  <a:pt x="40678" y="19290"/>
                </a:lnTo>
                <a:cubicBezTo>
                  <a:pt x="28884" y="19290"/>
                  <a:pt x="19290" y="28884"/>
                  <a:pt x="19290" y="40678"/>
                </a:cubicBezTo>
                <a:lnTo>
                  <a:pt x="19290" y="617693"/>
                </a:lnTo>
                <a:cubicBezTo>
                  <a:pt x="19290" y="629487"/>
                  <a:pt x="28884" y="639081"/>
                  <a:pt x="40678" y="639081"/>
                </a:cubicBezTo>
                <a:lnTo>
                  <a:pt x="173634" y="639081"/>
                </a:lnTo>
                <a:cubicBezTo>
                  <a:pt x="178962" y="639081"/>
                  <a:pt x="183280" y="643398"/>
                  <a:pt x="183280" y="648725"/>
                </a:cubicBezTo>
                <a:cubicBezTo>
                  <a:pt x="183280" y="654053"/>
                  <a:pt x="178962" y="658369"/>
                  <a:pt x="173636" y="658369"/>
                </a:cubicBezTo>
                <a:lnTo>
                  <a:pt x="40678" y="658369"/>
                </a:lnTo>
                <a:cubicBezTo>
                  <a:pt x="18248" y="658369"/>
                  <a:pt x="0" y="640120"/>
                  <a:pt x="0" y="617692"/>
                </a:cubicBezTo>
                <a:lnTo>
                  <a:pt x="0" y="40678"/>
                </a:lnTo>
                <a:cubicBezTo>
                  <a:pt x="0" y="18248"/>
                  <a:pt x="18248" y="0"/>
                  <a:pt x="40678" y="0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F43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B70E73A-A377-451C-1EC7-CBB4A4AB2EA4}"/>
              </a:ext>
            </a:extLst>
          </p:cNvPr>
          <p:cNvSpPr txBox="1"/>
          <p:nvPr/>
        </p:nvSpPr>
        <p:spPr>
          <a:xfrm>
            <a:off x="499533" y="6603866"/>
            <a:ext cx="5088467" cy="2506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The final screening criteria will be aligned upon in collaboration with the </a:t>
            </a:r>
            <a:r>
              <a:rPr kumimoji="0" lang="en-US" sz="900" b="0" i="0" u="none" strike="noStrike" kern="0" cap="none" spc="0" normalizeH="0" baseline="0" noProof="0" err="1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urizon</a:t>
            </a: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ore team</a:t>
            </a:r>
          </a:p>
        </p:txBody>
      </p:sp>
      <p:graphicFrame>
        <p:nvGraphicFramePr>
          <p:cNvPr id="3" name="Group 84">
            <a:extLst>
              <a:ext uri="{FF2B5EF4-FFF2-40B4-BE49-F238E27FC236}">
                <a16:creationId xmlns:a16="http://schemas.microsoft.com/office/drawing/2014/main" id="{E6618D01-D602-C4CA-133B-896B5F21A6F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03038804"/>
              </p:ext>
            </p:extLst>
          </p:nvPr>
        </p:nvGraphicFramePr>
        <p:xfrm>
          <a:off x="408179" y="927606"/>
          <a:ext cx="11537005" cy="1551940"/>
        </p:xfrm>
        <a:graphic>
          <a:graphicData uri="http://schemas.openxmlformats.org/drawingml/2006/table">
            <a:tbl>
              <a:tblPr>
                <a:effectLst/>
              </a:tblPr>
              <a:tblGrid>
                <a:gridCol w="12302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58726">
                  <a:extLst>
                    <a:ext uri="{9D8B030D-6E8A-4147-A177-3AD203B41FA5}">
                      <a16:colId xmlns:a16="http://schemas.microsoft.com/office/drawing/2014/main" val="1921570150"/>
                    </a:ext>
                  </a:extLst>
                </a:gridCol>
                <a:gridCol w="9047980">
                  <a:extLst>
                    <a:ext uri="{9D8B030D-6E8A-4147-A177-3AD203B41FA5}">
                      <a16:colId xmlns:a16="http://schemas.microsoft.com/office/drawing/2014/main" val="2182388144"/>
                    </a:ext>
                  </a:extLst>
                </a:gridCol>
              </a:tblGrid>
              <a:tr h="293370">
                <a:tc rowSpan="2">
                  <a:txBody>
                    <a:bodyPr/>
                    <a:lstStyle/>
                    <a:p>
                      <a:pPr marL="0" indent="0" algn="ctr">
                        <a:spcAft>
                          <a:spcPts val="30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  <a:latin typeface="+mn-lt"/>
                        </a:rPr>
                        <a:t>Approach</a:t>
                      </a:r>
                    </a:p>
                    <a:p>
                      <a:pPr marL="0" indent="0">
                        <a:spcAft>
                          <a:spcPts val="300"/>
                        </a:spcAft>
                        <a:buFont typeface="Wingdings" panose="05000000000000000000" pitchFamily="2" charset="2"/>
                        <a:buNone/>
                      </a:pPr>
                      <a:endParaRPr lang="en-US" sz="1100" b="0"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30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sz="1200" b="1" i="1">
                          <a:latin typeface="+mn-lt"/>
                        </a:rPr>
                        <a:t>Methodology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177800" indent="-177800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>
                          <a:latin typeface="+mn-lt"/>
                        </a:rPr>
                        <a:t>We will follow a mixed methodology (survey and interviews).The research will be </a:t>
                      </a:r>
                      <a:r>
                        <a:rPr lang="en-US" sz="1200" b="1" i="0">
                          <a:latin typeface="+mn-lt"/>
                        </a:rPr>
                        <a:t>double-blinded</a:t>
                      </a:r>
                      <a:r>
                        <a:rPr lang="en-US" sz="1200" b="0" i="0">
                          <a:latin typeface="+mn-lt"/>
                        </a:rPr>
                        <a:t>, and all p</a:t>
                      </a:r>
                      <a:r>
                        <a:rPr lang="en-US" sz="1200" b="0">
                          <a:latin typeface="+mn-lt"/>
                        </a:rPr>
                        <a:t>articipants will be </a:t>
                      </a:r>
                      <a:r>
                        <a:rPr lang="en-US" sz="1200" b="1">
                          <a:latin typeface="+mn-lt"/>
                        </a:rPr>
                        <a:t>screened prior to acceptance</a:t>
                      </a:r>
                      <a:endParaRPr lang="en-US" sz="1200" b="0" i="0">
                        <a:latin typeface="+mn-lt"/>
                      </a:endParaRPr>
                    </a:p>
                    <a:p>
                      <a:pPr marL="177800" indent="-177800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>
                          <a:latin typeface="+mn-lt"/>
                        </a:rPr>
                        <a:t>Interviews will be conducted over the phone and last </a:t>
                      </a:r>
                      <a:r>
                        <a:rPr lang="en-US" sz="1200" b="1" i="0">
                          <a:latin typeface="+mn-lt"/>
                        </a:rPr>
                        <a:t>roughly 60 minutes for payers and KOLs, and 30 minutes for patients </a:t>
                      </a:r>
                      <a:r>
                        <a:rPr lang="en-US" sz="1200" b="0" i="0">
                          <a:latin typeface="+mn-lt"/>
                        </a:rPr>
                        <a:t>with screen-sharing to share relevant stimuli; t</a:t>
                      </a:r>
                      <a:r>
                        <a:rPr lang="en-US" sz="1200"/>
                        <a:t>he online survey will take approximately </a:t>
                      </a:r>
                      <a:r>
                        <a:rPr lang="en-US" sz="1200" b="1"/>
                        <a:t>30 minutes </a:t>
                      </a:r>
                      <a:r>
                        <a:rPr lang="en-US" sz="1200"/>
                        <a:t>to complete on respondents’ own devices.</a:t>
                      </a:r>
                      <a:endParaRPr lang="en-US" sz="1200" b="0" i="0">
                        <a:latin typeface="+mn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512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30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sz="1200" b="1" i="1">
                          <a:latin typeface="+mn-lt"/>
                        </a:rPr>
                        <a:t>Benefits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177800" indent="-177800" algn="l" defTabSz="914400" rtl="0" eaLnBrk="1" latinLnBrk="0" hangingPunct="1">
                        <a:spcBef>
                          <a:spcPts val="1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sight into </a:t>
                      </a:r>
                      <a:r>
                        <a:rPr lang="en-US" sz="1200" b="1" i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dividual stakeholder perspectives </a:t>
                      </a:r>
                      <a:r>
                        <a:rPr lang="en-US" sz="1200" b="0" i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ased on their priorities and motivations</a:t>
                      </a:r>
                    </a:p>
                    <a:p>
                      <a:pPr marL="177800" indent="-177800" algn="l" defTabSz="914400" rtl="0" eaLnBrk="1" latinLnBrk="0" hangingPunct="1">
                        <a:spcBef>
                          <a:spcPts val="1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bility to </a:t>
                      </a:r>
                      <a:r>
                        <a:rPr lang="en-US" sz="1200" b="1" i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ailor each conversation </a:t>
                      </a:r>
                      <a:r>
                        <a:rPr lang="en-US" sz="1200" b="0" i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o interviewee backgrounds and adjust line of questioning as fielding progresses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3335826"/>
                  </a:ext>
                </a:extLst>
              </a:tr>
            </a:tbl>
          </a:graphicData>
        </a:graphic>
      </p:graphicFrame>
      <p:sp>
        <p:nvSpPr>
          <p:cNvPr id="4" name="Freeform: Shape 3">
            <a:extLst>
              <a:ext uri="{FF2B5EF4-FFF2-40B4-BE49-F238E27FC236}">
                <a16:creationId xmlns:a16="http://schemas.microsoft.com/office/drawing/2014/main" id="{CF3E8908-CEE8-E2EF-B89D-B3649AA99B5C}"/>
              </a:ext>
            </a:extLst>
          </p:cNvPr>
          <p:cNvSpPr/>
          <p:nvPr/>
        </p:nvSpPr>
        <p:spPr>
          <a:xfrm>
            <a:off x="849618" y="1368587"/>
            <a:ext cx="406310" cy="548640"/>
          </a:xfrm>
          <a:custGeom>
            <a:avLst/>
            <a:gdLst>
              <a:gd name="connsiteX0" fmla="*/ 169224 w 543870"/>
              <a:gd name="connsiteY0" fmla="*/ 587020 h 658369"/>
              <a:gd name="connsiteX1" fmla="*/ 164295 w 543870"/>
              <a:gd name="connsiteY1" fmla="*/ 591949 h 658369"/>
              <a:gd name="connsiteX2" fmla="*/ 164295 w 543870"/>
              <a:gd name="connsiteY2" fmla="*/ 599279 h 658369"/>
              <a:gd name="connsiteX3" fmla="*/ 169224 w 543870"/>
              <a:gd name="connsiteY3" fmla="*/ 604209 h 658369"/>
              <a:gd name="connsiteX4" fmla="*/ 223056 w 543870"/>
              <a:gd name="connsiteY4" fmla="*/ 604209 h 658369"/>
              <a:gd name="connsiteX5" fmla="*/ 227985 w 543870"/>
              <a:gd name="connsiteY5" fmla="*/ 599279 h 658369"/>
              <a:gd name="connsiteX6" fmla="*/ 227985 w 543870"/>
              <a:gd name="connsiteY6" fmla="*/ 591949 h 658369"/>
              <a:gd name="connsiteX7" fmla="*/ 223056 w 543870"/>
              <a:gd name="connsiteY7" fmla="*/ 587020 h 658369"/>
              <a:gd name="connsiteX8" fmla="*/ 169224 w 543870"/>
              <a:gd name="connsiteY8" fmla="*/ 567729 h 658369"/>
              <a:gd name="connsiteX9" fmla="*/ 223056 w 543870"/>
              <a:gd name="connsiteY9" fmla="*/ 567729 h 658369"/>
              <a:gd name="connsiteX10" fmla="*/ 247275 w 543870"/>
              <a:gd name="connsiteY10" fmla="*/ 591949 h 658369"/>
              <a:gd name="connsiteX11" fmla="*/ 247275 w 543870"/>
              <a:gd name="connsiteY11" fmla="*/ 599279 h 658369"/>
              <a:gd name="connsiteX12" fmla="*/ 223056 w 543870"/>
              <a:gd name="connsiteY12" fmla="*/ 623499 h 658369"/>
              <a:gd name="connsiteX13" fmla="*/ 169224 w 543870"/>
              <a:gd name="connsiteY13" fmla="*/ 623499 h 658369"/>
              <a:gd name="connsiteX14" fmla="*/ 145005 w 543870"/>
              <a:gd name="connsiteY14" fmla="*/ 599279 h 658369"/>
              <a:gd name="connsiteX15" fmla="*/ 145005 w 543870"/>
              <a:gd name="connsiteY15" fmla="*/ 591949 h 658369"/>
              <a:gd name="connsiteX16" fmla="*/ 169224 w 543870"/>
              <a:gd name="connsiteY16" fmla="*/ 567729 h 658369"/>
              <a:gd name="connsiteX17" fmla="*/ 100013 w 543870"/>
              <a:gd name="connsiteY17" fmla="*/ 449485 h 658369"/>
              <a:gd name="connsiteX18" fmla="*/ 272384 w 543870"/>
              <a:gd name="connsiteY18" fmla="*/ 449485 h 658369"/>
              <a:gd name="connsiteX19" fmla="*/ 282028 w 543870"/>
              <a:gd name="connsiteY19" fmla="*/ 459129 h 658369"/>
              <a:gd name="connsiteX20" fmla="*/ 272384 w 543870"/>
              <a:gd name="connsiteY20" fmla="*/ 468774 h 658369"/>
              <a:gd name="connsiteX21" fmla="*/ 100013 w 543870"/>
              <a:gd name="connsiteY21" fmla="*/ 468774 h 658369"/>
              <a:gd name="connsiteX22" fmla="*/ 90369 w 543870"/>
              <a:gd name="connsiteY22" fmla="*/ 459129 h 658369"/>
              <a:gd name="connsiteX23" fmla="*/ 100013 w 543870"/>
              <a:gd name="connsiteY23" fmla="*/ 449485 h 658369"/>
              <a:gd name="connsiteX24" fmla="*/ 100013 w 543870"/>
              <a:gd name="connsiteY24" fmla="*/ 397083 h 658369"/>
              <a:gd name="connsiteX25" fmla="*/ 272384 w 543870"/>
              <a:gd name="connsiteY25" fmla="*/ 397083 h 658369"/>
              <a:gd name="connsiteX26" fmla="*/ 282028 w 543870"/>
              <a:gd name="connsiteY26" fmla="*/ 406727 h 658369"/>
              <a:gd name="connsiteX27" fmla="*/ 272384 w 543870"/>
              <a:gd name="connsiteY27" fmla="*/ 416372 h 658369"/>
              <a:gd name="connsiteX28" fmla="*/ 100013 w 543870"/>
              <a:gd name="connsiteY28" fmla="*/ 416372 h 658369"/>
              <a:gd name="connsiteX29" fmla="*/ 90369 w 543870"/>
              <a:gd name="connsiteY29" fmla="*/ 406727 h 658369"/>
              <a:gd name="connsiteX30" fmla="*/ 100013 w 543870"/>
              <a:gd name="connsiteY30" fmla="*/ 397083 h 658369"/>
              <a:gd name="connsiteX31" fmla="*/ 403306 w 543870"/>
              <a:gd name="connsiteY31" fmla="*/ 321940 h 658369"/>
              <a:gd name="connsiteX32" fmla="*/ 370922 w 543870"/>
              <a:gd name="connsiteY32" fmla="*/ 354325 h 658369"/>
              <a:gd name="connsiteX33" fmla="*/ 403306 w 543870"/>
              <a:gd name="connsiteY33" fmla="*/ 386708 h 658369"/>
              <a:gd name="connsiteX34" fmla="*/ 435687 w 543870"/>
              <a:gd name="connsiteY34" fmla="*/ 354325 h 658369"/>
              <a:gd name="connsiteX35" fmla="*/ 403306 w 543870"/>
              <a:gd name="connsiteY35" fmla="*/ 321940 h 658369"/>
              <a:gd name="connsiteX36" fmla="*/ 403306 w 543870"/>
              <a:gd name="connsiteY36" fmla="*/ 302653 h 658369"/>
              <a:gd name="connsiteX37" fmla="*/ 454976 w 543870"/>
              <a:gd name="connsiteY37" fmla="*/ 354326 h 658369"/>
              <a:gd name="connsiteX38" fmla="*/ 403306 w 543870"/>
              <a:gd name="connsiteY38" fmla="*/ 405998 h 658369"/>
              <a:gd name="connsiteX39" fmla="*/ 351633 w 543870"/>
              <a:gd name="connsiteY39" fmla="*/ 354326 h 658369"/>
              <a:gd name="connsiteX40" fmla="*/ 403306 w 543870"/>
              <a:gd name="connsiteY40" fmla="*/ 302653 h 658369"/>
              <a:gd name="connsiteX41" fmla="*/ 100013 w 543870"/>
              <a:gd name="connsiteY41" fmla="*/ 292278 h 658369"/>
              <a:gd name="connsiteX42" fmla="*/ 272384 w 543870"/>
              <a:gd name="connsiteY42" fmla="*/ 292278 h 658369"/>
              <a:gd name="connsiteX43" fmla="*/ 282028 w 543870"/>
              <a:gd name="connsiteY43" fmla="*/ 301922 h 658369"/>
              <a:gd name="connsiteX44" fmla="*/ 272384 w 543870"/>
              <a:gd name="connsiteY44" fmla="*/ 311567 h 658369"/>
              <a:gd name="connsiteX45" fmla="*/ 100013 w 543870"/>
              <a:gd name="connsiteY45" fmla="*/ 311567 h 658369"/>
              <a:gd name="connsiteX46" fmla="*/ 90369 w 543870"/>
              <a:gd name="connsiteY46" fmla="*/ 301922 h 658369"/>
              <a:gd name="connsiteX47" fmla="*/ 100013 w 543870"/>
              <a:gd name="connsiteY47" fmla="*/ 292278 h 658369"/>
              <a:gd name="connsiteX48" fmla="*/ 100013 w 543870"/>
              <a:gd name="connsiteY48" fmla="*/ 239873 h 658369"/>
              <a:gd name="connsiteX49" fmla="*/ 272384 w 543870"/>
              <a:gd name="connsiteY49" fmla="*/ 239873 h 658369"/>
              <a:gd name="connsiteX50" fmla="*/ 282028 w 543870"/>
              <a:gd name="connsiteY50" fmla="*/ 249517 h 658369"/>
              <a:gd name="connsiteX51" fmla="*/ 272384 w 543870"/>
              <a:gd name="connsiteY51" fmla="*/ 259162 h 658369"/>
              <a:gd name="connsiteX52" fmla="*/ 100013 w 543870"/>
              <a:gd name="connsiteY52" fmla="*/ 259162 h 658369"/>
              <a:gd name="connsiteX53" fmla="*/ 90369 w 543870"/>
              <a:gd name="connsiteY53" fmla="*/ 249517 h 658369"/>
              <a:gd name="connsiteX54" fmla="*/ 100013 w 543870"/>
              <a:gd name="connsiteY54" fmla="*/ 239873 h 658369"/>
              <a:gd name="connsiteX55" fmla="*/ 391740 w 543870"/>
              <a:gd name="connsiteY55" fmla="*/ 233050 h 658369"/>
              <a:gd name="connsiteX56" fmla="*/ 391740 w 543870"/>
              <a:gd name="connsiteY56" fmla="*/ 263992 h 658369"/>
              <a:gd name="connsiteX57" fmla="*/ 384293 w 543870"/>
              <a:gd name="connsiteY57" fmla="*/ 273383 h 658369"/>
              <a:gd name="connsiteX58" fmla="*/ 359515 w 543870"/>
              <a:gd name="connsiteY58" fmla="*/ 283643 h 658369"/>
              <a:gd name="connsiteX59" fmla="*/ 347607 w 543870"/>
              <a:gd name="connsiteY59" fmla="*/ 282270 h 658369"/>
              <a:gd name="connsiteX60" fmla="*/ 325730 w 543870"/>
              <a:gd name="connsiteY60" fmla="*/ 260392 h 658369"/>
              <a:gd name="connsiteX61" fmla="*/ 309374 w 543870"/>
              <a:gd name="connsiteY61" fmla="*/ 276750 h 658369"/>
              <a:gd name="connsiteX62" fmla="*/ 316665 w 543870"/>
              <a:gd name="connsiteY62" fmla="*/ 284042 h 658369"/>
              <a:gd name="connsiteX63" fmla="*/ 331249 w 543870"/>
              <a:gd name="connsiteY63" fmla="*/ 298628 h 658369"/>
              <a:gd name="connsiteX64" fmla="*/ 334063 w 543870"/>
              <a:gd name="connsiteY64" fmla="*/ 305930 h 658369"/>
              <a:gd name="connsiteX65" fmla="*/ 332622 w 543870"/>
              <a:gd name="connsiteY65" fmla="*/ 310535 h 658369"/>
              <a:gd name="connsiteX66" fmla="*/ 322364 w 543870"/>
              <a:gd name="connsiteY66" fmla="*/ 335312 h 658369"/>
              <a:gd name="connsiteX67" fmla="*/ 312973 w 543870"/>
              <a:gd name="connsiteY67" fmla="*/ 342760 h 658369"/>
              <a:gd name="connsiteX68" fmla="*/ 282032 w 543870"/>
              <a:gd name="connsiteY68" fmla="*/ 342760 h 658369"/>
              <a:gd name="connsiteX69" fmla="*/ 282032 w 543870"/>
              <a:gd name="connsiteY69" fmla="*/ 365892 h 658369"/>
              <a:gd name="connsiteX70" fmla="*/ 312973 w 543870"/>
              <a:gd name="connsiteY70" fmla="*/ 365892 h 658369"/>
              <a:gd name="connsiteX71" fmla="*/ 322364 w 543870"/>
              <a:gd name="connsiteY71" fmla="*/ 373339 h 658369"/>
              <a:gd name="connsiteX72" fmla="*/ 332622 w 543870"/>
              <a:gd name="connsiteY72" fmla="*/ 398116 h 658369"/>
              <a:gd name="connsiteX73" fmla="*/ 331249 w 543870"/>
              <a:gd name="connsiteY73" fmla="*/ 410027 h 658369"/>
              <a:gd name="connsiteX74" fmla="*/ 309372 w 543870"/>
              <a:gd name="connsiteY74" fmla="*/ 431903 h 658369"/>
              <a:gd name="connsiteX75" fmla="*/ 325730 w 543870"/>
              <a:gd name="connsiteY75" fmla="*/ 448261 h 658369"/>
              <a:gd name="connsiteX76" fmla="*/ 347607 w 543870"/>
              <a:gd name="connsiteY76" fmla="*/ 426383 h 658369"/>
              <a:gd name="connsiteX77" fmla="*/ 359515 w 543870"/>
              <a:gd name="connsiteY77" fmla="*/ 425010 h 658369"/>
              <a:gd name="connsiteX78" fmla="*/ 384293 w 543870"/>
              <a:gd name="connsiteY78" fmla="*/ 435270 h 658369"/>
              <a:gd name="connsiteX79" fmla="*/ 391740 w 543870"/>
              <a:gd name="connsiteY79" fmla="*/ 444660 h 658369"/>
              <a:gd name="connsiteX80" fmla="*/ 391740 w 543870"/>
              <a:gd name="connsiteY80" fmla="*/ 475602 h 658369"/>
              <a:gd name="connsiteX81" fmla="*/ 414872 w 543870"/>
              <a:gd name="connsiteY81" fmla="*/ 475602 h 658369"/>
              <a:gd name="connsiteX82" fmla="*/ 414872 w 543870"/>
              <a:gd name="connsiteY82" fmla="*/ 444660 h 658369"/>
              <a:gd name="connsiteX83" fmla="*/ 422320 w 543870"/>
              <a:gd name="connsiteY83" fmla="*/ 435270 h 658369"/>
              <a:gd name="connsiteX84" fmla="*/ 447097 w 543870"/>
              <a:gd name="connsiteY84" fmla="*/ 425010 h 658369"/>
              <a:gd name="connsiteX85" fmla="*/ 459006 w 543870"/>
              <a:gd name="connsiteY85" fmla="*/ 426382 h 658369"/>
              <a:gd name="connsiteX86" fmla="*/ 480884 w 543870"/>
              <a:gd name="connsiteY86" fmla="*/ 448260 h 658369"/>
              <a:gd name="connsiteX87" fmla="*/ 497240 w 543870"/>
              <a:gd name="connsiteY87" fmla="*/ 431902 h 658369"/>
              <a:gd name="connsiteX88" fmla="*/ 475363 w 543870"/>
              <a:gd name="connsiteY88" fmla="*/ 410025 h 658369"/>
              <a:gd name="connsiteX89" fmla="*/ 473990 w 543870"/>
              <a:gd name="connsiteY89" fmla="*/ 398117 h 658369"/>
              <a:gd name="connsiteX90" fmla="*/ 484250 w 543870"/>
              <a:gd name="connsiteY90" fmla="*/ 373337 h 658369"/>
              <a:gd name="connsiteX91" fmla="*/ 493641 w 543870"/>
              <a:gd name="connsiteY91" fmla="*/ 365890 h 658369"/>
              <a:gd name="connsiteX92" fmla="*/ 524583 w 543870"/>
              <a:gd name="connsiteY92" fmla="*/ 365890 h 658369"/>
              <a:gd name="connsiteX93" fmla="*/ 524583 w 543870"/>
              <a:gd name="connsiteY93" fmla="*/ 342760 h 658369"/>
              <a:gd name="connsiteX94" fmla="*/ 493642 w 543870"/>
              <a:gd name="connsiteY94" fmla="*/ 342760 h 658369"/>
              <a:gd name="connsiteX95" fmla="*/ 484251 w 543870"/>
              <a:gd name="connsiteY95" fmla="*/ 335314 h 658369"/>
              <a:gd name="connsiteX96" fmla="*/ 473991 w 543870"/>
              <a:gd name="connsiteY96" fmla="*/ 310533 h 658369"/>
              <a:gd name="connsiteX97" fmla="*/ 475365 w 543870"/>
              <a:gd name="connsiteY97" fmla="*/ 298625 h 658369"/>
              <a:gd name="connsiteX98" fmla="*/ 497241 w 543870"/>
              <a:gd name="connsiteY98" fmla="*/ 276747 h 658369"/>
              <a:gd name="connsiteX99" fmla="*/ 480884 w 543870"/>
              <a:gd name="connsiteY99" fmla="*/ 260389 h 658369"/>
              <a:gd name="connsiteX100" fmla="*/ 459006 w 543870"/>
              <a:gd name="connsiteY100" fmla="*/ 282267 h 658369"/>
              <a:gd name="connsiteX101" fmla="*/ 447099 w 543870"/>
              <a:gd name="connsiteY101" fmla="*/ 283641 h 658369"/>
              <a:gd name="connsiteX102" fmla="*/ 422320 w 543870"/>
              <a:gd name="connsiteY102" fmla="*/ 273381 h 658369"/>
              <a:gd name="connsiteX103" fmla="*/ 414872 w 543870"/>
              <a:gd name="connsiteY103" fmla="*/ 263990 h 658369"/>
              <a:gd name="connsiteX104" fmla="*/ 414872 w 543870"/>
              <a:gd name="connsiteY104" fmla="*/ 233050 h 658369"/>
              <a:gd name="connsiteX105" fmla="*/ 60936 w 543870"/>
              <a:gd name="connsiteY105" fmla="*/ 177152 h 658369"/>
              <a:gd name="connsiteX106" fmla="*/ 60936 w 543870"/>
              <a:gd name="connsiteY106" fmla="*/ 532784 h 658369"/>
              <a:gd name="connsiteX107" fmla="*/ 331342 w 543870"/>
              <a:gd name="connsiteY107" fmla="*/ 532784 h 658369"/>
              <a:gd name="connsiteX108" fmla="*/ 331342 w 543870"/>
              <a:gd name="connsiteY108" fmla="*/ 468668 h 658369"/>
              <a:gd name="connsiteX109" fmla="*/ 316063 w 543870"/>
              <a:gd name="connsiteY109" fmla="*/ 465871 h 658369"/>
              <a:gd name="connsiteX110" fmla="*/ 291756 w 543870"/>
              <a:gd name="connsiteY110" fmla="*/ 441564 h 658369"/>
              <a:gd name="connsiteX111" fmla="*/ 291756 w 543870"/>
              <a:gd name="connsiteY111" fmla="*/ 422235 h 658369"/>
              <a:gd name="connsiteX112" fmla="*/ 312411 w 543870"/>
              <a:gd name="connsiteY112" fmla="*/ 401579 h 658369"/>
              <a:gd name="connsiteX113" fmla="*/ 305620 w 543870"/>
              <a:gd name="connsiteY113" fmla="*/ 385177 h 658369"/>
              <a:gd name="connsiteX114" fmla="*/ 276408 w 543870"/>
              <a:gd name="connsiteY114" fmla="*/ 385177 h 658369"/>
              <a:gd name="connsiteX115" fmla="*/ 262740 w 543870"/>
              <a:gd name="connsiteY115" fmla="*/ 371510 h 658369"/>
              <a:gd name="connsiteX116" fmla="*/ 262740 w 543870"/>
              <a:gd name="connsiteY116" fmla="*/ 363967 h 658369"/>
              <a:gd name="connsiteX117" fmla="*/ 100014 w 543870"/>
              <a:gd name="connsiteY117" fmla="*/ 363967 h 658369"/>
              <a:gd name="connsiteX118" fmla="*/ 90370 w 543870"/>
              <a:gd name="connsiteY118" fmla="*/ 354323 h 658369"/>
              <a:gd name="connsiteX119" fmla="*/ 100014 w 543870"/>
              <a:gd name="connsiteY119" fmla="*/ 344679 h 658369"/>
              <a:gd name="connsiteX120" fmla="*/ 262740 w 543870"/>
              <a:gd name="connsiteY120" fmla="*/ 344679 h 658369"/>
              <a:gd name="connsiteX121" fmla="*/ 262740 w 543870"/>
              <a:gd name="connsiteY121" fmla="*/ 337136 h 658369"/>
              <a:gd name="connsiteX122" fmla="*/ 276408 w 543870"/>
              <a:gd name="connsiteY122" fmla="*/ 323468 h 658369"/>
              <a:gd name="connsiteX123" fmla="*/ 305620 w 543870"/>
              <a:gd name="connsiteY123" fmla="*/ 323468 h 658369"/>
              <a:gd name="connsiteX124" fmla="*/ 309635 w 543870"/>
              <a:gd name="connsiteY124" fmla="*/ 312896 h 658369"/>
              <a:gd name="connsiteX125" fmla="*/ 312411 w 543870"/>
              <a:gd name="connsiteY125" fmla="*/ 307067 h 658369"/>
              <a:gd name="connsiteX126" fmla="*/ 291756 w 543870"/>
              <a:gd name="connsiteY126" fmla="*/ 286412 h 658369"/>
              <a:gd name="connsiteX127" fmla="*/ 291756 w 543870"/>
              <a:gd name="connsiteY127" fmla="*/ 267081 h 658369"/>
              <a:gd name="connsiteX128" fmla="*/ 316063 w 543870"/>
              <a:gd name="connsiteY128" fmla="*/ 242774 h 658369"/>
              <a:gd name="connsiteX129" fmla="*/ 331342 w 543870"/>
              <a:gd name="connsiteY129" fmla="*/ 239979 h 658369"/>
              <a:gd name="connsiteX130" fmla="*/ 331342 w 543870"/>
              <a:gd name="connsiteY130" fmla="*/ 177152 h 658369"/>
              <a:gd name="connsiteX131" fmla="*/ 60936 w 543870"/>
              <a:gd name="connsiteY131" fmla="*/ 177152 h 658369"/>
              <a:gd name="connsiteX132" fmla="*/ 117360 w 543870"/>
              <a:gd name="connsiteY132" fmla="*/ 115993 h 658369"/>
              <a:gd name="connsiteX133" fmla="*/ 117360 w 543870"/>
              <a:gd name="connsiteY133" fmla="*/ 157863 h 658369"/>
              <a:gd name="connsiteX134" fmla="*/ 331343 w 543870"/>
              <a:gd name="connsiteY134" fmla="*/ 157863 h 658369"/>
              <a:gd name="connsiteX135" fmla="*/ 331343 w 543870"/>
              <a:gd name="connsiteY135" fmla="*/ 115993 h 658369"/>
              <a:gd name="connsiteX136" fmla="*/ 60936 w 543870"/>
              <a:gd name="connsiteY136" fmla="*/ 115993 h 658369"/>
              <a:gd name="connsiteX137" fmla="*/ 60936 w 543870"/>
              <a:gd name="connsiteY137" fmla="*/ 157863 h 658369"/>
              <a:gd name="connsiteX138" fmla="*/ 98070 w 543870"/>
              <a:gd name="connsiteY138" fmla="*/ 157863 h 658369"/>
              <a:gd name="connsiteX139" fmla="*/ 98070 w 543870"/>
              <a:gd name="connsiteY139" fmla="*/ 115993 h 658369"/>
              <a:gd name="connsiteX140" fmla="*/ 59194 w 543870"/>
              <a:gd name="connsiteY140" fmla="*/ 96701 h 658369"/>
              <a:gd name="connsiteX141" fmla="*/ 333089 w 543870"/>
              <a:gd name="connsiteY141" fmla="*/ 96701 h 658369"/>
              <a:gd name="connsiteX142" fmla="*/ 350635 w 543870"/>
              <a:gd name="connsiteY142" fmla="*/ 114246 h 658369"/>
              <a:gd name="connsiteX143" fmla="*/ 350635 w 543870"/>
              <a:gd name="connsiteY143" fmla="*/ 258016 h 658369"/>
              <a:gd name="connsiteX144" fmla="*/ 356050 w 543870"/>
              <a:gd name="connsiteY144" fmla="*/ 263432 h 658369"/>
              <a:gd name="connsiteX145" fmla="*/ 372452 w 543870"/>
              <a:gd name="connsiteY145" fmla="*/ 256641 h 658369"/>
              <a:gd name="connsiteX146" fmla="*/ 372452 w 543870"/>
              <a:gd name="connsiteY146" fmla="*/ 223666 h 658369"/>
              <a:gd name="connsiteX147" fmla="*/ 372452 w 543870"/>
              <a:gd name="connsiteY147" fmla="*/ 162756 h 658369"/>
              <a:gd name="connsiteX148" fmla="*/ 382635 w 543870"/>
              <a:gd name="connsiteY148" fmla="*/ 153111 h 658369"/>
              <a:gd name="connsiteX149" fmla="*/ 392279 w 543870"/>
              <a:gd name="connsiteY149" fmla="*/ 162756 h 658369"/>
              <a:gd name="connsiteX150" fmla="*/ 392279 w 543870"/>
              <a:gd name="connsiteY150" fmla="*/ 213760 h 658369"/>
              <a:gd name="connsiteX151" fmla="*/ 420494 w 543870"/>
              <a:gd name="connsiteY151" fmla="*/ 213760 h 658369"/>
              <a:gd name="connsiteX152" fmla="*/ 434161 w 543870"/>
              <a:gd name="connsiteY152" fmla="*/ 227427 h 658369"/>
              <a:gd name="connsiteX153" fmla="*/ 434161 w 543870"/>
              <a:gd name="connsiteY153" fmla="*/ 256641 h 658369"/>
              <a:gd name="connsiteX154" fmla="*/ 450564 w 543870"/>
              <a:gd name="connsiteY154" fmla="*/ 263431 h 658369"/>
              <a:gd name="connsiteX155" fmla="*/ 471220 w 543870"/>
              <a:gd name="connsiteY155" fmla="*/ 242774 h 658369"/>
              <a:gd name="connsiteX156" fmla="*/ 490546 w 543870"/>
              <a:gd name="connsiteY156" fmla="*/ 242772 h 658369"/>
              <a:gd name="connsiteX157" fmla="*/ 514855 w 543870"/>
              <a:gd name="connsiteY157" fmla="*/ 267082 h 658369"/>
              <a:gd name="connsiteX158" fmla="*/ 518858 w 543870"/>
              <a:gd name="connsiteY158" fmla="*/ 276746 h 658369"/>
              <a:gd name="connsiteX159" fmla="*/ 514854 w 543870"/>
              <a:gd name="connsiteY159" fmla="*/ 286413 h 658369"/>
              <a:gd name="connsiteX160" fmla="*/ 494200 w 543870"/>
              <a:gd name="connsiteY160" fmla="*/ 307067 h 658369"/>
              <a:gd name="connsiteX161" fmla="*/ 500991 w 543870"/>
              <a:gd name="connsiteY161" fmla="*/ 323469 h 658369"/>
              <a:gd name="connsiteX162" fmla="*/ 530203 w 543870"/>
              <a:gd name="connsiteY162" fmla="*/ 323469 h 658369"/>
              <a:gd name="connsiteX163" fmla="*/ 543870 w 543870"/>
              <a:gd name="connsiteY163" fmla="*/ 337136 h 658369"/>
              <a:gd name="connsiteX164" fmla="*/ 543870 w 543870"/>
              <a:gd name="connsiteY164" fmla="*/ 371512 h 658369"/>
              <a:gd name="connsiteX165" fmla="*/ 530202 w 543870"/>
              <a:gd name="connsiteY165" fmla="*/ 385180 h 658369"/>
              <a:gd name="connsiteX166" fmla="*/ 500990 w 543870"/>
              <a:gd name="connsiteY166" fmla="*/ 385180 h 658369"/>
              <a:gd name="connsiteX167" fmla="*/ 494199 w 543870"/>
              <a:gd name="connsiteY167" fmla="*/ 401582 h 658369"/>
              <a:gd name="connsiteX168" fmla="*/ 514854 w 543870"/>
              <a:gd name="connsiteY168" fmla="*/ 422237 h 658369"/>
              <a:gd name="connsiteX169" fmla="*/ 518857 w 543870"/>
              <a:gd name="connsiteY169" fmla="*/ 431902 h 658369"/>
              <a:gd name="connsiteX170" fmla="*/ 514853 w 543870"/>
              <a:gd name="connsiteY170" fmla="*/ 441568 h 658369"/>
              <a:gd name="connsiteX171" fmla="*/ 490547 w 543870"/>
              <a:gd name="connsiteY171" fmla="*/ 465874 h 658369"/>
              <a:gd name="connsiteX172" fmla="*/ 471219 w 543870"/>
              <a:gd name="connsiteY172" fmla="*/ 465874 h 658369"/>
              <a:gd name="connsiteX173" fmla="*/ 450563 w 543870"/>
              <a:gd name="connsiteY173" fmla="*/ 445217 h 658369"/>
              <a:gd name="connsiteX174" fmla="*/ 434160 w 543870"/>
              <a:gd name="connsiteY174" fmla="*/ 452008 h 658369"/>
              <a:gd name="connsiteX175" fmla="*/ 434160 w 543870"/>
              <a:gd name="connsiteY175" fmla="*/ 481220 h 658369"/>
              <a:gd name="connsiteX176" fmla="*/ 420493 w 543870"/>
              <a:gd name="connsiteY176" fmla="*/ 494889 h 658369"/>
              <a:gd name="connsiteX177" fmla="*/ 392278 w 543870"/>
              <a:gd name="connsiteY177" fmla="*/ 494889 h 658369"/>
              <a:gd name="connsiteX178" fmla="*/ 392278 w 543870"/>
              <a:gd name="connsiteY178" fmla="*/ 617689 h 658369"/>
              <a:gd name="connsiteX179" fmla="*/ 351601 w 543870"/>
              <a:gd name="connsiteY179" fmla="*/ 658366 h 658369"/>
              <a:gd name="connsiteX180" fmla="*/ 218644 w 543870"/>
              <a:gd name="connsiteY180" fmla="*/ 658366 h 658369"/>
              <a:gd name="connsiteX181" fmla="*/ 209000 w 543870"/>
              <a:gd name="connsiteY181" fmla="*/ 648722 h 658369"/>
              <a:gd name="connsiteX182" fmla="*/ 218644 w 543870"/>
              <a:gd name="connsiteY182" fmla="*/ 639078 h 658369"/>
              <a:gd name="connsiteX183" fmla="*/ 351602 w 543870"/>
              <a:gd name="connsiteY183" fmla="*/ 639078 h 658369"/>
              <a:gd name="connsiteX184" fmla="*/ 372990 w 543870"/>
              <a:gd name="connsiteY184" fmla="*/ 617690 h 658369"/>
              <a:gd name="connsiteX185" fmla="*/ 372990 w 543870"/>
              <a:gd name="connsiteY185" fmla="*/ 484986 h 658369"/>
              <a:gd name="connsiteX186" fmla="*/ 372990 w 543870"/>
              <a:gd name="connsiteY186" fmla="*/ 484984 h 658369"/>
              <a:gd name="connsiteX187" fmla="*/ 372451 w 543870"/>
              <a:gd name="connsiteY187" fmla="*/ 452009 h 658369"/>
              <a:gd name="connsiteX188" fmla="*/ 356048 w 543870"/>
              <a:gd name="connsiteY188" fmla="*/ 445217 h 658369"/>
              <a:gd name="connsiteX189" fmla="*/ 350634 w 543870"/>
              <a:gd name="connsiteY189" fmla="*/ 450632 h 658369"/>
              <a:gd name="connsiteX190" fmla="*/ 350634 w 543870"/>
              <a:gd name="connsiteY190" fmla="*/ 534532 h 658369"/>
              <a:gd name="connsiteX191" fmla="*/ 333089 w 543870"/>
              <a:gd name="connsiteY191" fmla="*/ 552076 h 658369"/>
              <a:gd name="connsiteX192" fmla="*/ 59194 w 543870"/>
              <a:gd name="connsiteY192" fmla="*/ 552076 h 658369"/>
              <a:gd name="connsiteX193" fmla="*/ 41649 w 543870"/>
              <a:gd name="connsiteY193" fmla="*/ 534532 h 658369"/>
              <a:gd name="connsiteX194" fmla="*/ 41649 w 543870"/>
              <a:gd name="connsiteY194" fmla="*/ 114246 h 658369"/>
              <a:gd name="connsiteX195" fmla="*/ 59194 w 543870"/>
              <a:gd name="connsiteY195" fmla="*/ 96701 h 658369"/>
              <a:gd name="connsiteX196" fmla="*/ 175873 w 543870"/>
              <a:gd name="connsiteY196" fmla="*/ 48958 h 658369"/>
              <a:gd name="connsiteX197" fmla="*/ 216404 w 543870"/>
              <a:gd name="connsiteY197" fmla="*/ 48958 h 658369"/>
              <a:gd name="connsiteX198" fmla="*/ 226048 w 543870"/>
              <a:gd name="connsiteY198" fmla="*/ 58602 h 658369"/>
              <a:gd name="connsiteX199" fmla="*/ 216404 w 543870"/>
              <a:gd name="connsiteY199" fmla="*/ 68247 h 658369"/>
              <a:gd name="connsiteX200" fmla="*/ 175873 w 543870"/>
              <a:gd name="connsiteY200" fmla="*/ 68247 h 658369"/>
              <a:gd name="connsiteX201" fmla="*/ 166229 w 543870"/>
              <a:gd name="connsiteY201" fmla="*/ 58602 h 658369"/>
              <a:gd name="connsiteX202" fmla="*/ 175873 w 543870"/>
              <a:gd name="connsiteY202" fmla="*/ 48958 h 658369"/>
              <a:gd name="connsiteX203" fmla="*/ 40678 w 543870"/>
              <a:gd name="connsiteY203" fmla="*/ 0 h 658369"/>
              <a:gd name="connsiteX204" fmla="*/ 351602 w 543870"/>
              <a:gd name="connsiteY204" fmla="*/ 0 h 658369"/>
              <a:gd name="connsiteX205" fmla="*/ 392278 w 543870"/>
              <a:gd name="connsiteY205" fmla="*/ 40678 h 658369"/>
              <a:gd name="connsiteX206" fmla="*/ 392278 w 543870"/>
              <a:gd name="connsiteY206" fmla="*/ 117748 h 658369"/>
              <a:gd name="connsiteX207" fmla="*/ 382634 w 543870"/>
              <a:gd name="connsiteY207" fmla="*/ 127392 h 658369"/>
              <a:gd name="connsiteX208" fmla="*/ 372990 w 543870"/>
              <a:gd name="connsiteY208" fmla="*/ 117748 h 658369"/>
              <a:gd name="connsiteX209" fmla="*/ 372990 w 543870"/>
              <a:gd name="connsiteY209" fmla="*/ 40678 h 658369"/>
              <a:gd name="connsiteX210" fmla="*/ 351602 w 543870"/>
              <a:gd name="connsiteY210" fmla="*/ 19290 h 658369"/>
              <a:gd name="connsiteX211" fmla="*/ 40678 w 543870"/>
              <a:gd name="connsiteY211" fmla="*/ 19290 h 658369"/>
              <a:gd name="connsiteX212" fmla="*/ 19290 w 543870"/>
              <a:gd name="connsiteY212" fmla="*/ 40678 h 658369"/>
              <a:gd name="connsiteX213" fmla="*/ 19290 w 543870"/>
              <a:gd name="connsiteY213" fmla="*/ 617693 h 658369"/>
              <a:gd name="connsiteX214" fmla="*/ 40678 w 543870"/>
              <a:gd name="connsiteY214" fmla="*/ 639081 h 658369"/>
              <a:gd name="connsiteX215" fmla="*/ 173634 w 543870"/>
              <a:gd name="connsiteY215" fmla="*/ 639081 h 658369"/>
              <a:gd name="connsiteX216" fmla="*/ 183280 w 543870"/>
              <a:gd name="connsiteY216" fmla="*/ 648725 h 658369"/>
              <a:gd name="connsiteX217" fmla="*/ 173636 w 543870"/>
              <a:gd name="connsiteY217" fmla="*/ 658369 h 658369"/>
              <a:gd name="connsiteX218" fmla="*/ 40678 w 543870"/>
              <a:gd name="connsiteY218" fmla="*/ 658369 h 658369"/>
              <a:gd name="connsiteX219" fmla="*/ 0 w 543870"/>
              <a:gd name="connsiteY219" fmla="*/ 617692 h 658369"/>
              <a:gd name="connsiteX220" fmla="*/ 0 w 543870"/>
              <a:gd name="connsiteY220" fmla="*/ 40678 h 658369"/>
              <a:gd name="connsiteX221" fmla="*/ 40678 w 543870"/>
              <a:gd name="connsiteY221" fmla="*/ 0 h 658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</a:cxnLst>
            <a:rect l="l" t="t" r="r" b="b"/>
            <a:pathLst>
              <a:path w="543870" h="658369">
                <a:moveTo>
                  <a:pt x="169224" y="587020"/>
                </a:moveTo>
                <a:cubicBezTo>
                  <a:pt x="166552" y="587020"/>
                  <a:pt x="164295" y="589277"/>
                  <a:pt x="164295" y="591949"/>
                </a:cubicBezTo>
                <a:lnTo>
                  <a:pt x="164295" y="599279"/>
                </a:lnTo>
                <a:cubicBezTo>
                  <a:pt x="164295" y="601951"/>
                  <a:pt x="166552" y="604209"/>
                  <a:pt x="169224" y="604209"/>
                </a:cubicBezTo>
                <a:lnTo>
                  <a:pt x="223056" y="604209"/>
                </a:lnTo>
                <a:cubicBezTo>
                  <a:pt x="225729" y="604209"/>
                  <a:pt x="227985" y="601951"/>
                  <a:pt x="227985" y="599279"/>
                </a:cubicBezTo>
                <a:lnTo>
                  <a:pt x="227985" y="591949"/>
                </a:lnTo>
                <a:cubicBezTo>
                  <a:pt x="227985" y="589277"/>
                  <a:pt x="225729" y="587020"/>
                  <a:pt x="223056" y="587020"/>
                </a:cubicBezTo>
                <a:close/>
                <a:moveTo>
                  <a:pt x="169224" y="567729"/>
                </a:moveTo>
                <a:lnTo>
                  <a:pt x="223056" y="567729"/>
                </a:lnTo>
                <a:cubicBezTo>
                  <a:pt x="236410" y="567729"/>
                  <a:pt x="247275" y="578592"/>
                  <a:pt x="247275" y="591949"/>
                </a:cubicBezTo>
                <a:lnTo>
                  <a:pt x="247275" y="599279"/>
                </a:lnTo>
                <a:cubicBezTo>
                  <a:pt x="247275" y="612633"/>
                  <a:pt x="236412" y="623499"/>
                  <a:pt x="223056" y="623499"/>
                </a:cubicBezTo>
                <a:lnTo>
                  <a:pt x="169224" y="623499"/>
                </a:lnTo>
                <a:cubicBezTo>
                  <a:pt x="155871" y="623499"/>
                  <a:pt x="145005" y="612634"/>
                  <a:pt x="145005" y="599279"/>
                </a:cubicBezTo>
                <a:lnTo>
                  <a:pt x="145005" y="591949"/>
                </a:lnTo>
                <a:cubicBezTo>
                  <a:pt x="145005" y="578592"/>
                  <a:pt x="155868" y="567729"/>
                  <a:pt x="169224" y="567729"/>
                </a:cubicBezTo>
                <a:close/>
                <a:moveTo>
                  <a:pt x="100013" y="449485"/>
                </a:moveTo>
                <a:lnTo>
                  <a:pt x="272384" y="449485"/>
                </a:lnTo>
                <a:cubicBezTo>
                  <a:pt x="277710" y="449485"/>
                  <a:pt x="282028" y="453802"/>
                  <a:pt x="282028" y="459129"/>
                </a:cubicBezTo>
                <a:cubicBezTo>
                  <a:pt x="282028" y="464457"/>
                  <a:pt x="277710" y="468774"/>
                  <a:pt x="272384" y="468774"/>
                </a:cubicBezTo>
                <a:lnTo>
                  <a:pt x="100013" y="468774"/>
                </a:lnTo>
                <a:cubicBezTo>
                  <a:pt x="94687" y="468774"/>
                  <a:pt x="90369" y="464457"/>
                  <a:pt x="90369" y="459129"/>
                </a:cubicBezTo>
                <a:cubicBezTo>
                  <a:pt x="90369" y="453802"/>
                  <a:pt x="94687" y="449485"/>
                  <a:pt x="100013" y="449485"/>
                </a:cubicBezTo>
                <a:close/>
                <a:moveTo>
                  <a:pt x="100013" y="397083"/>
                </a:moveTo>
                <a:lnTo>
                  <a:pt x="272384" y="397083"/>
                </a:lnTo>
                <a:cubicBezTo>
                  <a:pt x="277710" y="397083"/>
                  <a:pt x="282028" y="401400"/>
                  <a:pt x="282028" y="406727"/>
                </a:cubicBezTo>
                <a:cubicBezTo>
                  <a:pt x="282028" y="412055"/>
                  <a:pt x="277710" y="416372"/>
                  <a:pt x="272384" y="416372"/>
                </a:cubicBezTo>
                <a:lnTo>
                  <a:pt x="100013" y="416372"/>
                </a:lnTo>
                <a:cubicBezTo>
                  <a:pt x="94687" y="416372"/>
                  <a:pt x="90369" y="412055"/>
                  <a:pt x="90369" y="406727"/>
                </a:cubicBezTo>
                <a:cubicBezTo>
                  <a:pt x="90369" y="401400"/>
                  <a:pt x="94687" y="397083"/>
                  <a:pt x="100013" y="397083"/>
                </a:cubicBezTo>
                <a:close/>
                <a:moveTo>
                  <a:pt x="403306" y="321940"/>
                </a:moveTo>
                <a:cubicBezTo>
                  <a:pt x="385448" y="321940"/>
                  <a:pt x="370922" y="336469"/>
                  <a:pt x="370922" y="354325"/>
                </a:cubicBezTo>
                <a:cubicBezTo>
                  <a:pt x="370922" y="372180"/>
                  <a:pt x="385449" y="386708"/>
                  <a:pt x="403306" y="386708"/>
                </a:cubicBezTo>
                <a:cubicBezTo>
                  <a:pt x="421160" y="386708"/>
                  <a:pt x="435687" y="372180"/>
                  <a:pt x="435687" y="354325"/>
                </a:cubicBezTo>
                <a:cubicBezTo>
                  <a:pt x="435687" y="336469"/>
                  <a:pt x="421162" y="321940"/>
                  <a:pt x="403306" y="321940"/>
                </a:cubicBezTo>
                <a:close/>
                <a:moveTo>
                  <a:pt x="403306" y="302653"/>
                </a:moveTo>
                <a:cubicBezTo>
                  <a:pt x="431797" y="302653"/>
                  <a:pt x="454978" y="325833"/>
                  <a:pt x="454976" y="354326"/>
                </a:cubicBezTo>
                <a:cubicBezTo>
                  <a:pt x="454976" y="382818"/>
                  <a:pt x="431797" y="405998"/>
                  <a:pt x="403306" y="405998"/>
                </a:cubicBezTo>
                <a:cubicBezTo>
                  <a:pt x="374813" y="405998"/>
                  <a:pt x="351633" y="382818"/>
                  <a:pt x="351633" y="354326"/>
                </a:cubicBezTo>
                <a:cubicBezTo>
                  <a:pt x="351633" y="325833"/>
                  <a:pt x="374814" y="302653"/>
                  <a:pt x="403306" y="302653"/>
                </a:cubicBezTo>
                <a:close/>
                <a:moveTo>
                  <a:pt x="100013" y="292278"/>
                </a:moveTo>
                <a:lnTo>
                  <a:pt x="272384" y="292278"/>
                </a:lnTo>
                <a:cubicBezTo>
                  <a:pt x="277710" y="292278"/>
                  <a:pt x="282029" y="296595"/>
                  <a:pt x="282028" y="301922"/>
                </a:cubicBezTo>
                <a:cubicBezTo>
                  <a:pt x="282028" y="307250"/>
                  <a:pt x="277710" y="311567"/>
                  <a:pt x="272384" y="311567"/>
                </a:cubicBezTo>
                <a:lnTo>
                  <a:pt x="100013" y="311567"/>
                </a:lnTo>
                <a:cubicBezTo>
                  <a:pt x="94687" y="311567"/>
                  <a:pt x="90369" y="307250"/>
                  <a:pt x="90369" y="301922"/>
                </a:cubicBezTo>
                <a:cubicBezTo>
                  <a:pt x="90369" y="296595"/>
                  <a:pt x="94687" y="292278"/>
                  <a:pt x="100013" y="292278"/>
                </a:cubicBezTo>
                <a:close/>
                <a:moveTo>
                  <a:pt x="100013" y="239873"/>
                </a:moveTo>
                <a:lnTo>
                  <a:pt x="272384" y="239873"/>
                </a:lnTo>
                <a:cubicBezTo>
                  <a:pt x="277710" y="239873"/>
                  <a:pt x="282029" y="244190"/>
                  <a:pt x="282028" y="249517"/>
                </a:cubicBezTo>
                <a:cubicBezTo>
                  <a:pt x="282028" y="254845"/>
                  <a:pt x="277710" y="259162"/>
                  <a:pt x="272384" y="259162"/>
                </a:cubicBezTo>
                <a:lnTo>
                  <a:pt x="100013" y="259162"/>
                </a:lnTo>
                <a:cubicBezTo>
                  <a:pt x="94687" y="259162"/>
                  <a:pt x="90369" y="254845"/>
                  <a:pt x="90369" y="249517"/>
                </a:cubicBezTo>
                <a:cubicBezTo>
                  <a:pt x="90369" y="244190"/>
                  <a:pt x="94687" y="239873"/>
                  <a:pt x="100013" y="239873"/>
                </a:cubicBezTo>
                <a:close/>
                <a:moveTo>
                  <a:pt x="391740" y="233050"/>
                </a:moveTo>
                <a:lnTo>
                  <a:pt x="391740" y="263992"/>
                </a:lnTo>
                <a:cubicBezTo>
                  <a:pt x="391740" y="268474"/>
                  <a:pt x="388656" y="272364"/>
                  <a:pt x="384293" y="273383"/>
                </a:cubicBezTo>
                <a:cubicBezTo>
                  <a:pt x="375502" y="275441"/>
                  <a:pt x="367166" y="278892"/>
                  <a:pt x="359515" y="283643"/>
                </a:cubicBezTo>
                <a:cubicBezTo>
                  <a:pt x="355708" y="286008"/>
                  <a:pt x="350774" y="285438"/>
                  <a:pt x="347607" y="282270"/>
                </a:cubicBezTo>
                <a:lnTo>
                  <a:pt x="325730" y="260392"/>
                </a:lnTo>
                <a:lnTo>
                  <a:pt x="309374" y="276750"/>
                </a:lnTo>
                <a:lnTo>
                  <a:pt x="316665" y="284042"/>
                </a:lnTo>
                <a:lnTo>
                  <a:pt x="331249" y="298628"/>
                </a:lnTo>
                <a:cubicBezTo>
                  <a:pt x="333229" y="300606"/>
                  <a:pt x="334195" y="303277"/>
                  <a:pt x="334063" y="305930"/>
                </a:cubicBezTo>
                <a:cubicBezTo>
                  <a:pt x="333983" y="307522"/>
                  <a:pt x="333508" y="309107"/>
                  <a:pt x="332622" y="310535"/>
                </a:cubicBezTo>
                <a:cubicBezTo>
                  <a:pt x="327793" y="318312"/>
                  <a:pt x="324337" y="326878"/>
                  <a:pt x="322364" y="335312"/>
                </a:cubicBezTo>
                <a:cubicBezTo>
                  <a:pt x="321343" y="339675"/>
                  <a:pt x="317453" y="342760"/>
                  <a:pt x="312973" y="342760"/>
                </a:cubicBezTo>
                <a:lnTo>
                  <a:pt x="282032" y="342760"/>
                </a:lnTo>
                <a:lnTo>
                  <a:pt x="282032" y="365892"/>
                </a:lnTo>
                <a:lnTo>
                  <a:pt x="312973" y="365892"/>
                </a:lnTo>
                <a:cubicBezTo>
                  <a:pt x="317453" y="365892"/>
                  <a:pt x="321344" y="368976"/>
                  <a:pt x="322364" y="373339"/>
                </a:cubicBezTo>
                <a:cubicBezTo>
                  <a:pt x="324411" y="382091"/>
                  <a:pt x="327868" y="390461"/>
                  <a:pt x="332622" y="398116"/>
                </a:cubicBezTo>
                <a:cubicBezTo>
                  <a:pt x="334986" y="401922"/>
                  <a:pt x="334419" y="406857"/>
                  <a:pt x="331249" y="410027"/>
                </a:cubicBezTo>
                <a:lnTo>
                  <a:pt x="309372" y="431903"/>
                </a:lnTo>
                <a:lnTo>
                  <a:pt x="325730" y="448261"/>
                </a:lnTo>
                <a:lnTo>
                  <a:pt x="347607" y="426383"/>
                </a:lnTo>
                <a:cubicBezTo>
                  <a:pt x="350776" y="423215"/>
                  <a:pt x="355710" y="422646"/>
                  <a:pt x="359515" y="425010"/>
                </a:cubicBezTo>
                <a:cubicBezTo>
                  <a:pt x="367167" y="429762"/>
                  <a:pt x="375505" y="433214"/>
                  <a:pt x="384293" y="435270"/>
                </a:cubicBezTo>
                <a:cubicBezTo>
                  <a:pt x="388656" y="436289"/>
                  <a:pt x="391740" y="440180"/>
                  <a:pt x="391740" y="444660"/>
                </a:cubicBezTo>
                <a:lnTo>
                  <a:pt x="391740" y="475602"/>
                </a:lnTo>
                <a:lnTo>
                  <a:pt x="414872" y="475602"/>
                </a:lnTo>
                <a:lnTo>
                  <a:pt x="414872" y="444660"/>
                </a:lnTo>
                <a:cubicBezTo>
                  <a:pt x="414872" y="440179"/>
                  <a:pt x="417957" y="436289"/>
                  <a:pt x="422320" y="435270"/>
                </a:cubicBezTo>
                <a:cubicBezTo>
                  <a:pt x="431106" y="433214"/>
                  <a:pt x="439444" y="429761"/>
                  <a:pt x="447097" y="425010"/>
                </a:cubicBezTo>
                <a:cubicBezTo>
                  <a:pt x="450906" y="422645"/>
                  <a:pt x="455836" y="423216"/>
                  <a:pt x="459006" y="426382"/>
                </a:cubicBezTo>
                <a:lnTo>
                  <a:pt x="480884" y="448260"/>
                </a:lnTo>
                <a:lnTo>
                  <a:pt x="497240" y="431902"/>
                </a:lnTo>
                <a:lnTo>
                  <a:pt x="475363" y="410025"/>
                </a:lnTo>
                <a:cubicBezTo>
                  <a:pt x="472195" y="406856"/>
                  <a:pt x="471627" y="401923"/>
                  <a:pt x="473990" y="398117"/>
                </a:cubicBezTo>
                <a:cubicBezTo>
                  <a:pt x="478741" y="390465"/>
                  <a:pt x="482193" y="382127"/>
                  <a:pt x="484250" y="373337"/>
                </a:cubicBezTo>
                <a:cubicBezTo>
                  <a:pt x="485271" y="368975"/>
                  <a:pt x="489161" y="365890"/>
                  <a:pt x="493641" y="365890"/>
                </a:cubicBezTo>
                <a:lnTo>
                  <a:pt x="524583" y="365890"/>
                </a:lnTo>
                <a:lnTo>
                  <a:pt x="524583" y="342760"/>
                </a:lnTo>
                <a:lnTo>
                  <a:pt x="493642" y="342760"/>
                </a:lnTo>
                <a:cubicBezTo>
                  <a:pt x="489162" y="342760"/>
                  <a:pt x="485271" y="339675"/>
                  <a:pt x="484251" y="335314"/>
                </a:cubicBezTo>
                <a:cubicBezTo>
                  <a:pt x="482195" y="326523"/>
                  <a:pt x="478743" y="318186"/>
                  <a:pt x="473991" y="310533"/>
                </a:cubicBezTo>
                <a:cubicBezTo>
                  <a:pt x="471628" y="306726"/>
                  <a:pt x="472196" y="301793"/>
                  <a:pt x="475365" y="298625"/>
                </a:cubicBezTo>
                <a:lnTo>
                  <a:pt x="497241" y="276747"/>
                </a:lnTo>
                <a:lnTo>
                  <a:pt x="480884" y="260389"/>
                </a:lnTo>
                <a:lnTo>
                  <a:pt x="459006" y="282267"/>
                </a:lnTo>
                <a:cubicBezTo>
                  <a:pt x="455837" y="285434"/>
                  <a:pt x="450904" y="286003"/>
                  <a:pt x="447099" y="283641"/>
                </a:cubicBezTo>
                <a:cubicBezTo>
                  <a:pt x="439446" y="278888"/>
                  <a:pt x="431109" y="275437"/>
                  <a:pt x="422320" y="273381"/>
                </a:cubicBezTo>
                <a:cubicBezTo>
                  <a:pt x="417957" y="272360"/>
                  <a:pt x="414872" y="268470"/>
                  <a:pt x="414872" y="263990"/>
                </a:cubicBezTo>
                <a:lnTo>
                  <a:pt x="414872" y="233050"/>
                </a:lnTo>
                <a:close/>
                <a:moveTo>
                  <a:pt x="60936" y="177152"/>
                </a:moveTo>
                <a:lnTo>
                  <a:pt x="60936" y="532784"/>
                </a:lnTo>
                <a:lnTo>
                  <a:pt x="331342" y="532784"/>
                </a:lnTo>
                <a:lnTo>
                  <a:pt x="331342" y="468668"/>
                </a:lnTo>
                <a:cubicBezTo>
                  <a:pt x="326170" y="470986"/>
                  <a:pt x="320053" y="469858"/>
                  <a:pt x="316063" y="465871"/>
                </a:cubicBezTo>
                <a:lnTo>
                  <a:pt x="291756" y="441564"/>
                </a:lnTo>
                <a:cubicBezTo>
                  <a:pt x="286427" y="436235"/>
                  <a:pt x="286427" y="427565"/>
                  <a:pt x="291756" y="422235"/>
                </a:cubicBezTo>
                <a:lnTo>
                  <a:pt x="312411" y="401579"/>
                </a:lnTo>
                <a:cubicBezTo>
                  <a:pt x="309468" y="395925"/>
                  <a:pt x="307274" y="390426"/>
                  <a:pt x="305620" y="385177"/>
                </a:cubicBezTo>
                <a:lnTo>
                  <a:pt x="276408" y="385177"/>
                </a:lnTo>
                <a:cubicBezTo>
                  <a:pt x="268869" y="385177"/>
                  <a:pt x="262740" y="379044"/>
                  <a:pt x="262740" y="371510"/>
                </a:cubicBezTo>
                <a:lnTo>
                  <a:pt x="262740" y="363967"/>
                </a:lnTo>
                <a:lnTo>
                  <a:pt x="100014" y="363967"/>
                </a:lnTo>
                <a:cubicBezTo>
                  <a:pt x="94688" y="363967"/>
                  <a:pt x="90370" y="359650"/>
                  <a:pt x="90370" y="354323"/>
                </a:cubicBezTo>
                <a:cubicBezTo>
                  <a:pt x="90370" y="348995"/>
                  <a:pt x="94688" y="344679"/>
                  <a:pt x="100014" y="344679"/>
                </a:cubicBezTo>
                <a:lnTo>
                  <a:pt x="262740" y="344679"/>
                </a:lnTo>
                <a:lnTo>
                  <a:pt x="262740" y="337136"/>
                </a:lnTo>
                <a:cubicBezTo>
                  <a:pt x="262740" y="329598"/>
                  <a:pt x="268873" y="323468"/>
                  <a:pt x="276408" y="323468"/>
                </a:cubicBezTo>
                <a:lnTo>
                  <a:pt x="305620" y="323468"/>
                </a:lnTo>
                <a:cubicBezTo>
                  <a:pt x="306756" y="319865"/>
                  <a:pt x="308110" y="316343"/>
                  <a:pt x="309635" y="312896"/>
                </a:cubicBezTo>
                <a:cubicBezTo>
                  <a:pt x="310505" y="310927"/>
                  <a:pt x="311416" y="308978"/>
                  <a:pt x="312411" y="307067"/>
                </a:cubicBezTo>
                <a:lnTo>
                  <a:pt x="291756" y="286412"/>
                </a:lnTo>
                <a:cubicBezTo>
                  <a:pt x="286467" y="281125"/>
                  <a:pt x="286368" y="272470"/>
                  <a:pt x="291756" y="267081"/>
                </a:cubicBezTo>
                <a:lnTo>
                  <a:pt x="316063" y="242774"/>
                </a:lnTo>
                <a:cubicBezTo>
                  <a:pt x="320142" y="238698"/>
                  <a:pt x="326297" y="237710"/>
                  <a:pt x="331342" y="239979"/>
                </a:cubicBezTo>
                <a:lnTo>
                  <a:pt x="331342" y="177152"/>
                </a:lnTo>
                <a:cubicBezTo>
                  <a:pt x="321206" y="177152"/>
                  <a:pt x="75189" y="177152"/>
                  <a:pt x="60936" y="177152"/>
                </a:cubicBezTo>
                <a:close/>
                <a:moveTo>
                  <a:pt x="117360" y="115993"/>
                </a:moveTo>
                <a:lnTo>
                  <a:pt x="117360" y="157863"/>
                </a:lnTo>
                <a:lnTo>
                  <a:pt x="331343" y="157863"/>
                </a:lnTo>
                <a:lnTo>
                  <a:pt x="331343" y="115993"/>
                </a:lnTo>
                <a:close/>
                <a:moveTo>
                  <a:pt x="60936" y="115993"/>
                </a:moveTo>
                <a:lnTo>
                  <a:pt x="60936" y="157863"/>
                </a:lnTo>
                <a:lnTo>
                  <a:pt x="98070" y="157863"/>
                </a:lnTo>
                <a:lnTo>
                  <a:pt x="98070" y="115993"/>
                </a:lnTo>
                <a:close/>
                <a:moveTo>
                  <a:pt x="59194" y="96701"/>
                </a:moveTo>
                <a:cubicBezTo>
                  <a:pt x="74080" y="96701"/>
                  <a:pt x="323689" y="96701"/>
                  <a:pt x="333089" y="96701"/>
                </a:cubicBezTo>
                <a:cubicBezTo>
                  <a:pt x="342767" y="96701"/>
                  <a:pt x="350635" y="104575"/>
                  <a:pt x="350635" y="114246"/>
                </a:cubicBezTo>
                <a:lnTo>
                  <a:pt x="350635" y="258016"/>
                </a:lnTo>
                <a:lnTo>
                  <a:pt x="356050" y="263432"/>
                </a:lnTo>
                <a:cubicBezTo>
                  <a:pt x="361308" y="260693"/>
                  <a:pt x="366791" y="258425"/>
                  <a:pt x="372452" y="256641"/>
                </a:cubicBezTo>
                <a:lnTo>
                  <a:pt x="372452" y="223666"/>
                </a:lnTo>
                <a:lnTo>
                  <a:pt x="372452" y="162756"/>
                </a:lnTo>
                <a:cubicBezTo>
                  <a:pt x="372452" y="157428"/>
                  <a:pt x="377309" y="153111"/>
                  <a:pt x="382635" y="153111"/>
                </a:cubicBezTo>
                <a:cubicBezTo>
                  <a:pt x="387961" y="153111"/>
                  <a:pt x="392279" y="157428"/>
                  <a:pt x="392279" y="162756"/>
                </a:cubicBezTo>
                <a:lnTo>
                  <a:pt x="392279" y="213760"/>
                </a:lnTo>
                <a:lnTo>
                  <a:pt x="420494" y="213760"/>
                </a:lnTo>
                <a:cubicBezTo>
                  <a:pt x="428030" y="213760"/>
                  <a:pt x="434161" y="219892"/>
                  <a:pt x="434161" y="227427"/>
                </a:cubicBezTo>
                <a:lnTo>
                  <a:pt x="434161" y="256641"/>
                </a:lnTo>
                <a:cubicBezTo>
                  <a:pt x="439822" y="258423"/>
                  <a:pt x="445305" y="260693"/>
                  <a:pt x="450564" y="263431"/>
                </a:cubicBezTo>
                <a:lnTo>
                  <a:pt x="471220" y="242774"/>
                </a:lnTo>
                <a:cubicBezTo>
                  <a:pt x="476550" y="237452"/>
                  <a:pt x="485218" y="237449"/>
                  <a:pt x="490546" y="242772"/>
                </a:cubicBezTo>
                <a:lnTo>
                  <a:pt x="514855" y="267082"/>
                </a:lnTo>
                <a:cubicBezTo>
                  <a:pt x="517436" y="269662"/>
                  <a:pt x="518858" y="273095"/>
                  <a:pt x="518858" y="276746"/>
                </a:cubicBezTo>
                <a:cubicBezTo>
                  <a:pt x="518858" y="280398"/>
                  <a:pt x="517436" y="283831"/>
                  <a:pt x="514854" y="286413"/>
                </a:cubicBezTo>
                <a:lnTo>
                  <a:pt x="494200" y="307067"/>
                </a:lnTo>
                <a:cubicBezTo>
                  <a:pt x="496938" y="312326"/>
                  <a:pt x="499207" y="317810"/>
                  <a:pt x="500991" y="323469"/>
                </a:cubicBezTo>
                <a:lnTo>
                  <a:pt x="530203" y="323469"/>
                </a:lnTo>
                <a:cubicBezTo>
                  <a:pt x="537740" y="323469"/>
                  <a:pt x="543871" y="329602"/>
                  <a:pt x="543870" y="337136"/>
                </a:cubicBezTo>
                <a:lnTo>
                  <a:pt x="543870" y="371512"/>
                </a:lnTo>
                <a:cubicBezTo>
                  <a:pt x="543870" y="379049"/>
                  <a:pt x="537737" y="385180"/>
                  <a:pt x="530202" y="385180"/>
                </a:cubicBezTo>
                <a:lnTo>
                  <a:pt x="500990" y="385180"/>
                </a:lnTo>
                <a:cubicBezTo>
                  <a:pt x="499207" y="390841"/>
                  <a:pt x="496937" y="396323"/>
                  <a:pt x="494199" y="401582"/>
                </a:cubicBezTo>
                <a:lnTo>
                  <a:pt x="514854" y="422237"/>
                </a:lnTo>
                <a:cubicBezTo>
                  <a:pt x="517435" y="424818"/>
                  <a:pt x="518857" y="428250"/>
                  <a:pt x="518857" y="431902"/>
                </a:cubicBezTo>
                <a:cubicBezTo>
                  <a:pt x="518857" y="435554"/>
                  <a:pt x="517435" y="438986"/>
                  <a:pt x="514853" y="441568"/>
                </a:cubicBezTo>
                <a:lnTo>
                  <a:pt x="490547" y="465874"/>
                </a:lnTo>
                <a:cubicBezTo>
                  <a:pt x="485220" y="471201"/>
                  <a:pt x="476548" y="471201"/>
                  <a:pt x="471219" y="465874"/>
                </a:cubicBezTo>
                <a:lnTo>
                  <a:pt x="450563" y="445217"/>
                </a:lnTo>
                <a:cubicBezTo>
                  <a:pt x="445304" y="447956"/>
                  <a:pt x="439821" y="450224"/>
                  <a:pt x="434160" y="452008"/>
                </a:cubicBezTo>
                <a:lnTo>
                  <a:pt x="434160" y="481220"/>
                </a:lnTo>
                <a:cubicBezTo>
                  <a:pt x="434160" y="488757"/>
                  <a:pt x="428028" y="494889"/>
                  <a:pt x="420493" y="494889"/>
                </a:cubicBezTo>
                <a:lnTo>
                  <a:pt x="392278" y="494889"/>
                </a:lnTo>
                <a:lnTo>
                  <a:pt x="392278" y="617689"/>
                </a:lnTo>
                <a:cubicBezTo>
                  <a:pt x="392278" y="640119"/>
                  <a:pt x="374030" y="658366"/>
                  <a:pt x="351601" y="658366"/>
                </a:cubicBezTo>
                <a:lnTo>
                  <a:pt x="218644" y="658366"/>
                </a:lnTo>
                <a:cubicBezTo>
                  <a:pt x="213318" y="658366"/>
                  <a:pt x="209000" y="654050"/>
                  <a:pt x="209000" y="648722"/>
                </a:cubicBezTo>
                <a:cubicBezTo>
                  <a:pt x="209000" y="643395"/>
                  <a:pt x="213318" y="639078"/>
                  <a:pt x="218644" y="639078"/>
                </a:cubicBezTo>
                <a:lnTo>
                  <a:pt x="351602" y="639078"/>
                </a:lnTo>
                <a:cubicBezTo>
                  <a:pt x="363396" y="639078"/>
                  <a:pt x="372990" y="629484"/>
                  <a:pt x="372990" y="617690"/>
                </a:cubicBezTo>
                <a:lnTo>
                  <a:pt x="372990" y="484986"/>
                </a:lnTo>
                <a:lnTo>
                  <a:pt x="372990" y="484984"/>
                </a:lnTo>
                <a:cubicBezTo>
                  <a:pt x="372267" y="482468"/>
                  <a:pt x="372451" y="483008"/>
                  <a:pt x="372451" y="452009"/>
                </a:cubicBezTo>
                <a:cubicBezTo>
                  <a:pt x="366791" y="450227"/>
                  <a:pt x="361308" y="447957"/>
                  <a:pt x="356048" y="445217"/>
                </a:cubicBezTo>
                <a:lnTo>
                  <a:pt x="350634" y="450632"/>
                </a:lnTo>
                <a:lnTo>
                  <a:pt x="350634" y="534532"/>
                </a:lnTo>
                <a:cubicBezTo>
                  <a:pt x="350634" y="544206"/>
                  <a:pt x="342763" y="552076"/>
                  <a:pt x="333089" y="552076"/>
                </a:cubicBezTo>
                <a:lnTo>
                  <a:pt x="59194" y="552076"/>
                </a:lnTo>
                <a:cubicBezTo>
                  <a:pt x="49519" y="552076"/>
                  <a:pt x="41649" y="544204"/>
                  <a:pt x="41649" y="534532"/>
                </a:cubicBezTo>
                <a:lnTo>
                  <a:pt x="41649" y="114246"/>
                </a:lnTo>
                <a:cubicBezTo>
                  <a:pt x="41649" y="104571"/>
                  <a:pt x="49520" y="96701"/>
                  <a:pt x="59194" y="96701"/>
                </a:cubicBezTo>
                <a:close/>
                <a:moveTo>
                  <a:pt x="175873" y="48958"/>
                </a:moveTo>
                <a:lnTo>
                  <a:pt x="216404" y="48958"/>
                </a:lnTo>
                <a:cubicBezTo>
                  <a:pt x="221732" y="48958"/>
                  <a:pt x="226048" y="53275"/>
                  <a:pt x="226048" y="58602"/>
                </a:cubicBezTo>
                <a:cubicBezTo>
                  <a:pt x="226048" y="63930"/>
                  <a:pt x="221730" y="68247"/>
                  <a:pt x="216404" y="68247"/>
                </a:cubicBezTo>
                <a:lnTo>
                  <a:pt x="175873" y="68247"/>
                </a:lnTo>
                <a:cubicBezTo>
                  <a:pt x="170547" y="68247"/>
                  <a:pt x="166229" y="63930"/>
                  <a:pt x="166229" y="58602"/>
                </a:cubicBezTo>
                <a:cubicBezTo>
                  <a:pt x="166229" y="53275"/>
                  <a:pt x="170547" y="48958"/>
                  <a:pt x="175873" y="48958"/>
                </a:cubicBezTo>
                <a:close/>
                <a:moveTo>
                  <a:pt x="40678" y="0"/>
                </a:moveTo>
                <a:lnTo>
                  <a:pt x="351602" y="0"/>
                </a:lnTo>
                <a:cubicBezTo>
                  <a:pt x="374030" y="0"/>
                  <a:pt x="392278" y="18248"/>
                  <a:pt x="392278" y="40678"/>
                </a:cubicBezTo>
                <a:lnTo>
                  <a:pt x="392278" y="117748"/>
                </a:lnTo>
                <a:cubicBezTo>
                  <a:pt x="392278" y="123075"/>
                  <a:pt x="387960" y="127392"/>
                  <a:pt x="382634" y="127392"/>
                </a:cubicBezTo>
                <a:cubicBezTo>
                  <a:pt x="377308" y="127392"/>
                  <a:pt x="372990" y="123075"/>
                  <a:pt x="372990" y="117748"/>
                </a:cubicBezTo>
                <a:lnTo>
                  <a:pt x="372990" y="40678"/>
                </a:lnTo>
                <a:cubicBezTo>
                  <a:pt x="372990" y="28884"/>
                  <a:pt x="363396" y="19290"/>
                  <a:pt x="351602" y="19290"/>
                </a:cubicBezTo>
                <a:lnTo>
                  <a:pt x="40678" y="19290"/>
                </a:lnTo>
                <a:cubicBezTo>
                  <a:pt x="28884" y="19290"/>
                  <a:pt x="19290" y="28884"/>
                  <a:pt x="19290" y="40678"/>
                </a:cubicBezTo>
                <a:lnTo>
                  <a:pt x="19290" y="617693"/>
                </a:lnTo>
                <a:cubicBezTo>
                  <a:pt x="19290" y="629487"/>
                  <a:pt x="28884" y="639081"/>
                  <a:pt x="40678" y="639081"/>
                </a:cubicBezTo>
                <a:lnTo>
                  <a:pt x="173634" y="639081"/>
                </a:lnTo>
                <a:cubicBezTo>
                  <a:pt x="178962" y="639081"/>
                  <a:pt x="183280" y="643398"/>
                  <a:pt x="183280" y="648725"/>
                </a:cubicBezTo>
                <a:cubicBezTo>
                  <a:pt x="183280" y="654053"/>
                  <a:pt x="178962" y="658369"/>
                  <a:pt x="173636" y="658369"/>
                </a:cubicBezTo>
                <a:lnTo>
                  <a:pt x="40678" y="658369"/>
                </a:lnTo>
                <a:cubicBezTo>
                  <a:pt x="18248" y="658369"/>
                  <a:pt x="0" y="640120"/>
                  <a:pt x="0" y="617692"/>
                </a:cubicBezTo>
                <a:lnTo>
                  <a:pt x="0" y="40678"/>
                </a:lnTo>
                <a:cubicBezTo>
                  <a:pt x="0" y="18248"/>
                  <a:pt x="18248" y="0"/>
                  <a:pt x="40678" y="0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F43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C769FF00-5325-5CDC-32D9-C96F4D39B4F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22346033"/>
              </p:ext>
            </p:extLst>
          </p:nvPr>
        </p:nvGraphicFramePr>
        <p:xfrm>
          <a:off x="408178" y="2482252"/>
          <a:ext cx="11537006" cy="416096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478">
                  <a:extLst>
                    <a:ext uri="{9D8B030D-6E8A-4147-A177-3AD203B41FA5}">
                      <a16:colId xmlns:a16="http://schemas.microsoft.com/office/drawing/2014/main" val="1546420655"/>
                    </a:ext>
                  </a:extLst>
                </a:gridCol>
                <a:gridCol w="5271407">
                  <a:extLst>
                    <a:ext uri="{9D8B030D-6E8A-4147-A177-3AD203B41FA5}">
                      <a16:colId xmlns:a16="http://schemas.microsoft.com/office/drawing/2014/main" val="1985913635"/>
                    </a:ext>
                  </a:extLst>
                </a:gridCol>
                <a:gridCol w="932024">
                  <a:extLst>
                    <a:ext uri="{9D8B030D-6E8A-4147-A177-3AD203B41FA5}">
                      <a16:colId xmlns:a16="http://schemas.microsoft.com/office/drawing/2014/main" val="1326612867"/>
                    </a:ext>
                  </a:extLst>
                </a:gridCol>
                <a:gridCol w="932025">
                  <a:extLst>
                    <a:ext uri="{9D8B030D-6E8A-4147-A177-3AD203B41FA5}">
                      <a16:colId xmlns:a16="http://schemas.microsoft.com/office/drawing/2014/main" val="3449510883"/>
                    </a:ext>
                  </a:extLst>
                </a:gridCol>
                <a:gridCol w="932024">
                  <a:extLst>
                    <a:ext uri="{9D8B030D-6E8A-4147-A177-3AD203B41FA5}">
                      <a16:colId xmlns:a16="http://schemas.microsoft.com/office/drawing/2014/main" val="920665123"/>
                    </a:ext>
                  </a:extLst>
                </a:gridCol>
                <a:gridCol w="932024">
                  <a:extLst>
                    <a:ext uri="{9D8B030D-6E8A-4147-A177-3AD203B41FA5}">
                      <a16:colId xmlns:a16="http://schemas.microsoft.com/office/drawing/2014/main" val="1307244301"/>
                    </a:ext>
                  </a:extLst>
                </a:gridCol>
                <a:gridCol w="932024">
                  <a:extLst>
                    <a:ext uri="{9D8B030D-6E8A-4147-A177-3AD203B41FA5}">
                      <a16:colId xmlns:a16="http://schemas.microsoft.com/office/drawing/2014/main" val="2026752015"/>
                    </a:ext>
                  </a:extLst>
                </a:gridCol>
              </a:tblGrid>
              <a:tr h="271022"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Segment</a:t>
                      </a:r>
                    </a:p>
                  </a:txBody>
                  <a:tcPr marL="92079" marR="9207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escription*</a:t>
                      </a:r>
                    </a:p>
                  </a:txBody>
                  <a:tcPr marL="92079" marR="9207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</a:t>
                      </a:r>
                    </a:p>
                  </a:txBody>
                  <a:tcPr marL="92079" marR="9207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otal N</a:t>
                      </a:r>
                    </a:p>
                  </a:txBody>
                  <a:tcPr marL="92079" marR="9207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0450855"/>
                  </a:ext>
                </a:extLst>
              </a:tr>
              <a:tr h="451704">
                <a:tc rowSpan="2"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US Payers</a:t>
                      </a:r>
                    </a:p>
                  </a:txBody>
                  <a:tcPr marL="92079" marR="9207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Pharmacy &amp; Medical Directors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3+ years of experience in position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Voting P&amp;T member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Familiar with ALS and its management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Knowledgeable about orphan drug pricing and the impact of pricing on utilization management decisions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Payer mix of Commercial and Medicare</a:t>
                      </a:r>
                    </a:p>
                  </a:txBody>
                  <a:tcPr marL="92079" marR="9207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 i="1"/>
                        <a:t>National MCOs</a:t>
                      </a:r>
                    </a:p>
                  </a:txBody>
                  <a:tcPr marL="92079" marR="9207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 i="1"/>
                        <a:t>Regional MCOs</a:t>
                      </a:r>
                    </a:p>
                  </a:txBody>
                  <a:tcPr marL="92079" marR="92079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 i="1"/>
                        <a:t>PBMs</a:t>
                      </a:r>
                    </a:p>
                  </a:txBody>
                  <a:tcPr marL="92079" marR="92079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 i="1"/>
                        <a:t>IDNs</a:t>
                      </a:r>
                    </a:p>
                  </a:txBody>
                  <a:tcPr marL="92079" marR="92079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 b="1" i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92079" marR="92079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544441"/>
                  </a:ext>
                </a:extLst>
              </a:tr>
              <a:tr h="90340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/>
                        <a:t>3-4</a:t>
                      </a:r>
                    </a:p>
                  </a:txBody>
                  <a:tcPr marL="92079" marR="92079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/>
                        <a:t>5-6</a:t>
                      </a:r>
                    </a:p>
                  </a:txBody>
                  <a:tcPr marL="92079" marR="92079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/>
                        <a:t>1-2</a:t>
                      </a:r>
                    </a:p>
                  </a:txBody>
                  <a:tcPr marL="92079" marR="92079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/>
                        <a:t>1-2</a:t>
                      </a:r>
                    </a:p>
                  </a:txBody>
                  <a:tcPr marL="92079" marR="92079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US" sz="1400"/>
                    </a:p>
                  </a:txBody>
                  <a:tcPr marL="92079" marR="9207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8876910"/>
                  </a:ext>
                </a:extLst>
              </a:tr>
              <a:tr h="579120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US KOLs</a:t>
                      </a:r>
                    </a:p>
                  </a:txBody>
                  <a:tcPr marL="92079" marR="9207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AEE"/>
                    </a:solidFill>
                  </a:tcPr>
                </a:tc>
                <a:tc rowSpan="2" gridSpan="4">
                  <a:txBody>
                    <a:bodyPr/>
                    <a:lstStyle/>
                    <a:p>
                      <a:pPr marL="285750" marR="0" lvl="0" indent="-28575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/>
                        <a:t>[KOL Only] Contribute to or author </a:t>
                      </a:r>
                      <a:r>
                        <a:rPr lang="en-US" sz="1200" b="0"/>
                        <a:t>clinical guidelines or consensus statements </a:t>
                      </a:r>
                      <a:r>
                        <a:rPr lang="en-US" sz="1200"/>
                        <a:t>in ALS or related neuromuscular diseases</a:t>
                      </a:r>
                    </a:p>
                    <a:p>
                      <a:pPr marL="285750" marR="0" lvl="0" indent="-28575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/>
                        <a:t>[KOL Only] Have </a:t>
                      </a:r>
                      <a:r>
                        <a:rPr lang="en-US" sz="1200" b="0"/>
                        <a:t>peer-reviewed publications in leading journals within the past 5 years</a:t>
                      </a:r>
                    </a:p>
                    <a:p>
                      <a:pPr marL="285750" marR="0" lvl="0" indent="-28575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/>
                        <a:t>[KOL Only] Regularly participate in academic teaching, conference presentations, or advisory boards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Board-certified physicians practicing &gt;3 years within their specialty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≥75% of time spent in patient care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Mix of geographies and practice affiliations and settings (e.g., academic medical center, IDN, community, private group/solo practice)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Experience treating and managing at least 5 ALS patients per month</a:t>
                      </a:r>
                    </a:p>
                  </a:txBody>
                  <a:tcPr marL="92079" marR="9207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US" sz="1200" i="1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2079" marR="92079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Interview</a:t>
                      </a:r>
                    </a:p>
                  </a:txBody>
                  <a:tcPr marL="92079" marR="9207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 b="1" i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2079" marR="9207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46104375"/>
                  </a:ext>
                </a:extLst>
              </a:tr>
              <a:tr h="1158240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Prescribers</a:t>
                      </a:r>
                    </a:p>
                  </a:txBody>
                  <a:tcPr marL="92079" marR="9207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AEE"/>
                    </a:solidFill>
                  </a:tcPr>
                </a:tc>
                <a:tc gridSpan="4" vMerge="1"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endParaRPr lang="en-US" sz="1200"/>
                    </a:p>
                  </a:txBody>
                  <a:tcPr marL="92079" marR="9207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2A5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Survey</a:t>
                      </a:r>
                    </a:p>
                  </a:txBody>
                  <a:tcPr marL="92079" marR="9207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 b="1" i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0</a:t>
                      </a:r>
                    </a:p>
                  </a:txBody>
                  <a:tcPr marL="92079" marR="9207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4017394"/>
                  </a:ext>
                </a:extLst>
              </a:tr>
              <a:tr h="320487">
                <a:tc rowSpan="2">
                  <a:txBody>
                    <a:bodyPr/>
                    <a:lstStyle/>
                    <a:p>
                      <a:pPr algn="ctr"/>
                      <a:r>
                        <a:rPr lang="en-US" sz="1200" b="1" i="0"/>
                        <a:t>Patients/Caregivers</a:t>
                      </a:r>
                    </a:p>
                  </a:txBody>
                  <a:tcPr marL="92079" marR="9207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 rowSpan="2" gridSpan="4"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i="0"/>
                        <a:t>Patients and caregivers of patients who are living with ALS and were diagnosed in the last 6 months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i="0"/>
                        <a:t>Mix of patients who are taking therapy vs. treatment naïve, if possible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i="0"/>
                        <a:t>Mix of geographic locations</a:t>
                      </a:r>
                    </a:p>
                  </a:txBody>
                  <a:tcPr marL="92079" marR="9207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Interview</a:t>
                      </a:r>
                    </a:p>
                  </a:txBody>
                  <a:tcPr marL="92079" marR="9207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 b="1" i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92079" marR="9207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2147926"/>
                  </a:ext>
                </a:extLst>
              </a:tr>
              <a:tr h="451704">
                <a:tc vMerge="1">
                  <a:txBody>
                    <a:bodyPr/>
                    <a:lstStyle/>
                    <a:p>
                      <a:pPr algn="ctr"/>
                      <a:endParaRPr lang="en-US" sz="1200" b="1" i="0"/>
                    </a:p>
                  </a:txBody>
                  <a:tcPr marL="92079" marR="9207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 gridSpan="4" vMerge="1"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endParaRPr lang="en-US" sz="1200" i="0"/>
                    </a:p>
                  </a:txBody>
                  <a:tcPr marL="92079" marR="9207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Survey</a:t>
                      </a:r>
                    </a:p>
                  </a:txBody>
                  <a:tcPr marL="92079" marR="9207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/>
                        <a:t>No cap </a:t>
                      </a:r>
                    </a:p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/>
                        <a:t>(2-week)</a:t>
                      </a:r>
                      <a:endParaRPr lang="en-US" sz="1200" b="1" i="1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2079" marR="9207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2097270"/>
                  </a:ext>
                </a:extLst>
              </a:tr>
            </a:tbl>
          </a:graphicData>
        </a:graphic>
      </p:graphicFrame>
      <p:sp>
        <p:nvSpPr>
          <p:cNvPr id="8" name="Rettangolo 21">
            <a:extLst>
              <a:ext uri="{FF2B5EF4-FFF2-40B4-BE49-F238E27FC236}">
                <a16:creationId xmlns:a16="http://schemas.microsoft.com/office/drawing/2014/main" id="{854860B9-630A-BFD1-0A3E-ACD385E64D71}"/>
              </a:ext>
            </a:extLst>
          </p:cNvPr>
          <p:cNvSpPr/>
          <p:nvPr/>
        </p:nvSpPr>
        <p:spPr>
          <a:xfrm>
            <a:off x="9915525" y="197705"/>
            <a:ext cx="2095123" cy="3048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i="1">
                <a:solidFill>
                  <a:schemeClr val="accent1"/>
                </a:solidFill>
              </a:rPr>
              <a:t>Tentative for Discussion</a:t>
            </a:r>
            <a:endParaRPr lang="en-GB" sz="1200" i="1" cap="small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1841878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DD32F42-EB71-C508-5A25-27C80044471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Project Statu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C469D4B-D926-16A4-5943-0FB744173ED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3052405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0489AC-F6E7-68B5-54F3-719D969363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ject Dashboard – November 10</a:t>
            </a:r>
            <a:r>
              <a:rPr lang="en-US" baseline="30000"/>
              <a:t>th</a:t>
            </a:r>
            <a:r>
              <a:rPr lang="en-US"/>
              <a:t>, 2025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870E1380-9CFB-4117-992B-470C089E52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1187468"/>
              </p:ext>
            </p:extLst>
          </p:nvPr>
        </p:nvGraphicFramePr>
        <p:xfrm>
          <a:off x="609600" y="927605"/>
          <a:ext cx="10972802" cy="4534039"/>
        </p:xfrm>
        <a:graphic>
          <a:graphicData uri="http://schemas.openxmlformats.org/drawingml/2006/table">
            <a:tbl>
              <a:tblPr firstRow="1" bandRow="1"/>
              <a:tblGrid>
                <a:gridCol w="2717929">
                  <a:extLst>
                    <a:ext uri="{9D8B030D-6E8A-4147-A177-3AD203B41FA5}">
                      <a16:colId xmlns:a16="http://schemas.microsoft.com/office/drawing/2014/main" val="3103959881"/>
                    </a:ext>
                  </a:extLst>
                </a:gridCol>
                <a:gridCol w="1420309">
                  <a:extLst>
                    <a:ext uri="{9D8B030D-6E8A-4147-A177-3AD203B41FA5}">
                      <a16:colId xmlns:a16="http://schemas.microsoft.com/office/drawing/2014/main" val="57450463"/>
                    </a:ext>
                  </a:extLst>
                </a:gridCol>
                <a:gridCol w="6834564">
                  <a:extLst>
                    <a:ext uri="{9D8B030D-6E8A-4147-A177-3AD203B41FA5}">
                      <a16:colId xmlns:a16="http://schemas.microsoft.com/office/drawing/2014/main" val="2545235082"/>
                    </a:ext>
                  </a:extLst>
                </a:gridCol>
              </a:tblGrid>
              <a:tr h="41818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>
                        <a:solidFill>
                          <a:srgbClr val="DC4405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spc="-5">
                          <a:solidFill>
                            <a:schemeClr val="accent1"/>
                          </a:solidFill>
                          <a:uFill>
                            <a:solidFill>
                              <a:srgbClr val="007397"/>
                            </a:solidFill>
                          </a:uFill>
                          <a:latin typeface="+mj-lt"/>
                          <a:cs typeface="Arial"/>
                        </a:rPr>
                        <a:t>Status Report</a:t>
                      </a:r>
                      <a:endParaRPr lang="en-US" sz="1400">
                        <a:solidFill>
                          <a:schemeClr val="accent1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3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3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352">
                        <a:lumMod val="10000"/>
                        <a:lumOff val="9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24984872"/>
                  </a:ext>
                </a:extLst>
              </a:tr>
              <a:tr h="1224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  <a:latin typeface="+mj-lt"/>
                          <a:cs typeface="Arial"/>
                        </a:rPr>
                        <a:t>Items Complete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Review and synthesis of </a:t>
                      </a:r>
                      <a:r>
                        <a:rPr lang="en-US" sz="1400" b="0" kern="1200" dirty="0" err="1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N</a:t>
                      </a:r>
                      <a:r>
                        <a:rPr lang="en-US" altLang="zh-CN" sz="1400" b="0" kern="1200" dirty="0" err="1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eurizon</a:t>
                      </a:r>
                      <a:r>
                        <a:rPr lang="en-US" altLang="zh-CN" sz="1400" b="0" kern="120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 </a:t>
                      </a:r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materials received</a:t>
                      </a:r>
                      <a:endParaRPr lang="en-US" dirty="0"/>
                    </a:p>
                    <a:p>
                      <a:pPr marL="171450" marR="0" lvl="0" indent="-17145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j-lt"/>
                          <a:cs typeface="Arial"/>
                        </a:rPr>
                        <a:t>PMR (Primary Market Research) Screeners drafted:</a:t>
                      </a:r>
                    </a:p>
                    <a:p>
                      <a:pPr marL="628650" marR="0" lvl="1" indent="-17145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j-lt"/>
                          <a:cs typeface="Arial"/>
                        </a:rPr>
                        <a:t>Physicians </a:t>
                      </a:r>
                    </a:p>
                    <a:p>
                      <a:pPr marL="628650" marR="0" lvl="1" indent="-17145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j-lt"/>
                          <a:cs typeface="Arial"/>
                        </a:rPr>
                        <a:t>Payers</a:t>
                      </a:r>
                    </a:p>
                  </a:txBody>
                  <a:tcPr anchor="ctr">
                    <a:lnL w="12700" cmpd="sng">
                      <a:noFill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3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1E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24252476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1">
                        <a:solidFill>
                          <a:schemeClr val="tx1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66048637"/>
                  </a:ext>
                </a:extLst>
              </a:tr>
              <a:tr h="435569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  <a:latin typeface="+mj-lt"/>
                          <a:cs typeface="Arial"/>
                        </a:rPr>
                        <a:t>Partially Complete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285750" marR="0" lvl="0" indent="-28575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en-US" sz="1400" b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PMR discussion guide and stimuli early drafts:</a:t>
                      </a:r>
                    </a:p>
                    <a:p>
                      <a:pPr marL="742950" marR="0" lvl="1" indent="-28575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en-US" sz="1400" b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Payers – </a:t>
                      </a:r>
                      <a:r>
                        <a:rPr lang="en-US" sz="1400" b="0" kern="120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Arial"/>
                        </a:rPr>
                        <a:t>Pending TPPs for completion</a:t>
                      </a:r>
                      <a:endParaRPr lang="en-US" sz="1400" b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742950" marR="0" lvl="1" indent="-28575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en-US" sz="1400" b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Physicians – </a:t>
                      </a:r>
                      <a:r>
                        <a:rPr lang="en-US" sz="1400" b="0" kern="120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Arial"/>
                        </a:rPr>
                        <a:t>Pending TPPs for completion</a:t>
                      </a:r>
                      <a:endParaRPr lang="en-US" sz="1400" b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4307645"/>
                  </a:ext>
                </a:extLst>
              </a:tr>
              <a:tr h="160304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1">
                        <a:solidFill>
                          <a:schemeClr val="tx1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9226259"/>
                  </a:ext>
                </a:extLst>
              </a:tr>
              <a:tr h="365760">
                <a:tc rowSpan="2"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  <a:latin typeface="+mj-lt"/>
                          <a:cs typeface="Arial"/>
                        </a:rPr>
                        <a:t>Action Item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1/03</a:t>
                      </a:r>
                    </a:p>
                  </a:txBody>
                  <a:tcPr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400" b="1">
                          <a:latin typeface="+mj-lt"/>
                        </a:rPr>
                        <a:t>Neurizon </a:t>
                      </a:r>
                      <a:r>
                        <a:rPr lang="en-US" sz="1400" b="0">
                          <a:latin typeface="+mj-lt"/>
                        </a:rPr>
                        <a:t>to provide share TPP inputs and feedback on screening criteria</a:t>
                      </a:r>
                    </a:p>
                  </a:txBody>
                  <a:tcPr anchor="ctr">
                    <a:lnL w="12700" cmpd="sng">
                      <a:noFill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9391795"/>
                  </a:ext>
                </a:extLst>
              </a:tr>
              <a:tr h="36576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1/07</a:t>
                      </a:r>
                    </a:p>
                  </a:txBody>
                  <a:tcPr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400" b="1">
                          <a:latin typeface="+mj-lt"/>
                        </a:rPr>
                        <a:t>EVERSANA </a:t>
                      </a:r>
                      <a:r>
                        <a:rPr lang="en-US" sz="1400" b="0">
                          <a:latin typeface="+mj-lt"/>
                        </a:rPr>
                        <a:t>targeting</a:t>
                      </a:r>
                      <a:r>
                        <a:rPr lang="en-US" sz="1400" b="1">
                          <a:latin typeface="+mj-lt"/>
                        </a:rPr>
                        <a:t> </a:t>
                      </a:r>
                      <a:r>
                        <a:rPr lang="en-US" sz="1400" b="0">
                          <a:latin typeface="+mj-lt"/>
                        </a:rPr>
                        <a:t>to complete drafts of Payer / HCP DGs and stimuli </a:t>
                      </a:r>
                    </a:p>
                  </a:txBody>
                  <a:tcPr anchor="ctr">
                    <a:lnL w="12700" cmpd="sng">
                      <a:noFill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8494046"/>
                  </a:ext>
                </a:extLst>
              </a:tr>
              <a:tr h="160304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1">
                        <a:solidFill>
                          <a:schemeClr val="tx1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" b="1" i="0" u="none" strike="noStrike" kern="1200" cap="none" spc="0" baseline="0">
                        <a:solidFill>
                          <a:srgbClr val="565A5C"/>
                        </a:solidFill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00"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065997"/>
                  </a:ext>
                </a:extLst>
              </a:tr>
              <a:tr h="822960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  <a:latin typeface="+mj-lt"/>
                          <a:cs typeface="Arial"/>
                        </a:rPr>
                        <a:t>Upcoming Mileston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285750" marR="0" lvl="0" indent="-28575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i="0" u="none" strike="noStrike" kern="1200" cap="none" spc="0" baseline="0" dirty="0">
                          <a:solidFill>
                            <a:srgbClr val="565A5C"/>
                          </a:solidFill>
                          <a:uFillTx/>
                          <a:latin typeface="+mj-lt"/>
                          <a:ea typeface="+mn-ea"/>
                          <a:cs typeface="+mn-cs"/>
                        </a:rPr>
                        <a:t>Finalize PMR materials and initiate the interviews</a:t>
                      </a:r>
                    </a:p>
                    <a:p>
                      <a:pPr marL="285750" marR="0" lvl="0" indent="-28575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i="0" u="none" strike="noStrike" kern="1200" cap="none" spc="0" baseline="0" dirty="0">
                          <a:solidFill>
                            <a:srgbClr val="565A5C"/>
                          </a:solidFill>
                          <a:uFillTx/>
                          <a:latin typeface="+mj-lt"/>
                          <a:ea typeface="+mn-ea"/>
                          <a:cs typeface="+mn-cs"/>
                        </a:rPr>
                        <a:t>Keep working on survey materials </a:t>
                      </a:r>
                    </a:p>
                  </a:txBody>
                  <a:tcPr anchor="ctr">
                    <a:lnL w="12700" cmpd="sng">
                      <a:noFill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400"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47727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45360376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FFFFFF"/>
            </a:gs>
            <a:gs pos="100000">
              <a:schemeClr val="bg1">
                <a:lumMod val="95000"/>
              </a:schemeClr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33B5C3-50C8-C1AA-B5EE-74C8247203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posed Timel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1C9895-54A8-D97C-DF35-0B2179AD9D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6738" y="804658"/>
            <a:ext cx="10972801" cy="349889"/>
          </a:xfrm>
        </p:spPr>
        <p:txBody>
          <a:bodyPr/>
          <a:lstStyle/>
          <a:p>
            <a:r>
              <a:rPr lang="en-US"/>
              <a:t>The project is expected to take approximately 12 weeks to complete. One extra week was added to accommodate potential holiday delays</a:t>
            </a:r>
          </a:p>
        </p:txBody>
      </p:sp>
      <p:graphicFrame>
        <p:nvGraphicFramePr>
          <p:cNvPr id="5" name="Content Placeholder 3">
            <a:extLst>
              <a:ext uri="{FF2B5EF4-FFF2-40B4-BE49-F238E27FC236}">
                <a16:creationId xmlns:a16="http://schemas.microsoft.com/office/drawing/2014/main" id="{E8E40513-64B2-5497-FE2F-5BE12B68DF6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40380566"/>
              </p:ext>
            </p:extLst>
          </p:nvPr>
        </p:nvGraphicFramePr>
        <p:xfrm>
          <a:off x="609600" y="2279257"/>
          <a:ext cx="11101519" cy="3344016"/>
        </p:xfrm>
        <a:graphic>
          <a:graphicData uri="http://schemas.openxmlformats.org/drawingml/2006/table">
            <a:tbl>
              <a:tblPr firstRow="1" bandRow="1">
                <a:effectLst/>
                <a:tableStyleId>{6E25E649-3F16-4E02-A733-19D2CDBF48F0}</a:tableStyleId>
              </a:tblPr>
              <a:tblGrid>
                <a:gridCol w="20944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9284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284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92848">
                  <a:extLst>
                    <a:ext uri="{9D8B030D-6E8A-4147-A177-3AD203B41FA5}">
                      <a16:colId xmlns:a16="http://schemas.microsoft.com/office/drawing/2014/main" val="207913698"/>
                    </a:ext>
                  </a:extLst>
                </a:gridCol>
                <a:gridCol w="692848">
                  <a:extLst>
                    <a:ext uri="{9D8B030D-6E8A-4147-A177-3AD203B41FA5}">
                      <a16:colId xmlns:a16="http://schemas.microsoft.com/office/drawing/2014/main" val="3686873528"/>
                    </a:ext>
                  </a:extLst>
                </a:gridCol>
                <a:gridCol w="69284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92848">
                  <a:extLst>
                    <a:ext uri="{9D8B030D-6E8A-4147-A177-3AD203B41FA5}">
                      <a16:colId xmlns:a16="http://schemas.microsoft.com/office/drawing/2014/main" val="971284375"/>
                    </a:ext>
                  </a:extLst>
                </a:gridCol>
                <a:gridCol w="692848">
                  <a:extLst>
                    <a:ext uri="{9D8B030D-6E8A-4147-A177-3AD203B41FA5}">
                      <a16:colId xmlns:a16="http://schemas.microsoft.com/office/drawing/2014/main" val="739483302"/>
                    </a:ext>
                  </a:extLst>
                </a:gridCol>
                <a:gridCol w="692848">
                  <a:extLst>
                    <a:ext uri="{9D8B030D-6E8A-4147-A177-3AD203B41FA5}">
                      <a16:colId xmlns:a16="http://schemas.microsoft.com/office/drawing/2014/main" val="2546114233"/>
                    </a:ext>
                  </a:extLst>
                </a:gridCol>
                <a:gridCol w="692848">
                  <a:extLst>
                    <a:ext uri="{9D8B030D-6E8A-4147-A177-3AD203B41FA5}">
                      <a16:colId xmlns:a16="http://schemas.microsoft.com/office/drawing/2014/main" val="2037711914"/>
                    </a:ext>
                  </a:extLst>
                </a:gridCol>
                <a:gridCol w="692848">
                  <a:extLst>
                    <a:ext uri="{9D8B030D-6E8A-4147-A177-3AD203B41FA5}">
                      <a16:colId xmlns:a16="http://schemas.microsoft.com/office/drawing/2014/main" val="1711903188"/>
                    </a:ext>
                  </a:extLst>
                </a:gridCol>
                <a:gridCol w="692848">
                  <a:extLst>
                    <a:ext uri="{9D8B030D-6E8A-4147-A177-3AD203B41FA5}">
                      <a16:colId xmlns:a16="http://schemas.microsoft.com/office/drawing/2014/main" val="1076278895"/>
                    </a:ext>
                  </a:extLst>
                </a:gridCol>
                <a:gridCol w="692848">
                  <a:extLst>
                    <a:ext uri="{9D8B030D-6E8A-4147-A177-3AD203B41FA5}">
                      <a16:colId xmlns:a16="http://schemas.microsoft.com/office/drawing/2014/main" val="2948700540"/>
                    </a:ext>
                  </a:extLst>
                </a:gridCol>
                <a:gridCol w="692848">
                  <a:extLst>
                    <a:ext uri="{9D8B030D-6E8A-4147-A177-3AD203B41FA5}">
                      <a16:colId xmlns:a16="http://schemas.microsoft.com/office/drawing/2014/main" val="682802064"/>
                    </a:ext>
                  </a:extLst>
                </a:gridCol>
              </a:tblGrid>
              <a:tr h="0"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b="1">
                          <a:effectLst/>
                        </a:rPr>
                        <a:t>Activ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gridSpan="13">
                  <a:txBody>
                    <a:bodyPr/>
                    <a:lstStyle/>
                    <a:p>
                      <a:pPr algn="ctr"/>
                      <a:r>
                        <a:rPr lang="en-US" sz="1400" b="1">
                          <a:effectLst/>
                        </a:rPr>
                        <a:t>Week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10/2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10/2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11/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11/1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11/1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11/2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1"/>
                        <a:t>12/1</a:t>
                      </a:r>
                    </a:p>
                  </a:txBody>
                  <a:tcPr>
                    <a:lnL w="12700">
                      <a:solidFill>
                        <a:schemeClr val="bg1">
                          <a:lumMod val="75000"/>
                        </a:schemeClr>
                      </a:solidFill>
                    </a:lnL>
                    <a:lnR w="12700">
                      <a:solidFill>
                        <a:schemeClr val="bg1">
                          <a:lumMod val="75000"/>
                        </a:schemeClr>
                      </a:solidFill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12/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12/1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2/2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12/29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  <a:alpha val="3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1"/>
                        <a:t>1/5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1"/>
                        <a:t>1/12</a:t>
                      </a:r>
                    </a:p>
                  </a:txBody>
                  <a:tcPr>
                    <a:lnL w="12700">
                      <a:solidFill>
                        <a:schemeClr val="bg1">
                          <a:lumMod val="75000"/>
                        </a:schemeClr>
                      </a:solidFill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8451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+mn-cs"/>
                        </a:rPr>
                        <a:t>Landscape and </a:t>
                      </a:r>
                      <a:br>
                        <a:rPr kumimoji="0"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+mn-cs"/>
                        </a:rPr>
                      </a:br>
                      <a:r>
                        <a:rPr kumimoji="0"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+mn-cs"/>
                        </a:rPr>
                        <a:t>Foundational Insights </a:t>
                      </a:r>
                    </a:p>
                  </a:txBody>
                  <a:tcPr marL="82296" marR="82296" marT="18288" marB="1828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  <a:alpha val="3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5047668"/>
                  </a:ext>
                </a:extLst>
              </a:tr>
              <a:tr h="684510"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</a:pPr>
                      <a:r>
                        <a:rPr lang="en-US" sz="1200" b="1" u="none" strike="noStrike" cap="none" normalizeH="0" baseline="0">
                          <a:ln>
                            <a:noFill/>
                          </a:ln>
                          <a:effectLst/>
                        </a:rPr>
                        <a:t>Stakeholder Insights and </a:t>
                      </a:r>
                      <a:br>
                        <a:rPr lang="en-US" sz="1200" b="1" u="none" strike="noStrike" cap="none" normalizeH="0" baseline="0">
                          <a:ln>
                            <a:noFill/>
                          </a:ln>
                          <a:effectLst/>
                        </a:rPr>
                      </a:br>
                      <a:r>
                        <a:rPr lang="en-US" sz="1200" b="1" u="none" strike="noStrike" cap="none" normalizeH="0" baseline="0">
                          <a:ln>
                            <a:noFill/>
                          </a:ln>
                          <a:effectLst/>
                        </a:rPr>
                        <a:t>Access Strategy</a:t>
                      </a:r>
                    </a:p>
                  </a:txBody>
                  <a:tcPr marL="82296" marR="82296" marT="18288" marB="1828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bg1">
                          <a:lumMod val="75000"/>
                        </a:schemeClr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9E9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  <a:alpha val="3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84510">
                <a:tc>
                  <a:txBody>
                    <a:bodyPr/>
                    <a:lstStyle/>
                    <a:p>
                      <a:pPr marL="0" marR="0" lvl="0" indent="0" algn="l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</a:pPr>
                      <a:r>
                        <a:rPr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ヒラギノ角ゴ Pro W3"/>
                        </a:rPr>
                        <a:t>Commercial Forecasting</a:t>
                      </a:r>
                    </a:p>
                    <a:p>
                      <a:pPr marL="0" marR="0" lvl="0" indent="0" algn="l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</a:pPr>
                      <a:r>
                        <a:rPr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ヒラギノ角ゴ Pro W3"/>
                        </a:rPr>
                        <a:t>for Target Markets</a:t>
                      </a:r>
                    </a:p>
                  </a:txBody>
                  <a:tcPr marL="82296" marR="82296" marT="18288" marB="1828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>
                      <a:solidFill>
                        <a:schemeClr val="bg1">
                          <a:lumMod val="75000"/>
                        </a:schemeClr>
                      </a:solidFill>
                    </a:lnL>
                    <a:lnR w="12700">
                      <a:solidFill>
                        <a:schemeClr val="bg1">
                          <a:lumMod val="75000"/>
                        </a:schemeClr>
                      </a:solidFill>
                    </a:lnR>
                    <a:lnT w="12700">
                      <a:solidFill>
                        <a:schemeClr val="bg1">
                          <a:lumMod val="75000"/>
                        </a:schemeClr>
                      </a:solidFill>
                    </a:lnT>
                    <a:lnB w="12700">
                      <a:solidFill>
                        <a:schemeClr val="bg1">
                          <a:lumMod val="75000"/>
                        </a:schemeClr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noFill/>
                    </a:lnT>
                    <a:lnB w="1270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  <a:alpha val="3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>
                      <a:solidFill>
                        <a:schemeClr val="bg1">
                          <a:lumMod val="75000"/>
                        </a:schemeClr>
                      </a:solidFill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2095090"/>
                  </a:ext>
                </a:extLst>
              </a:tr>
              <a:tr h="711366">
                <a:tc>
                  <a:txBody>
                    <a:bodyPr/>
                    <a:lstStyle/>
                    <a:p>
                      <a:pPr marL="0" marR="0" lvl="0" indent="0" algn="l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effectLst/>
                        </a:rPr>
                        <a:t>Project Management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ヒラギノ角ゴ Pro W3" pitchFamily="1" charset="-128"/>
                      </a:endParaRPr>
                    </a:p>
                  </a:txBody>
                  <a:tcPr marL="82296" marR="82296" marT="18288" marB="1828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bg1">
                          <a:lumMod val="75000"/>
                        </a:schemeClr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9E9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  <a:alpha val="3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bg1">
                          <a:lumMod val="75000"/>
                        </a:schemeClr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bg1">
                          <a:lumMod val="75000"/>
                        </a:schemeClr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15" name="Rectangle 166">
            <a:extLst>
              <a:ext uri="{FF2B5EF4-FFF2-40B4-BE49-F238E27FC236}">
                <a16:creationId xmlns:a16="http://schemas.microsoft.com/office/drawing/2014/main" id="{B4C9AD0E-D85E-ED01-2F87-BF67C06711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75071" y="2851246"/>
            <a:ext cx="640598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ick-off meeting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1E64074-847E-9D3D-4789-76E50CB10535}"/>
              </a:ext>
            </a:extLst>
          </p:cNvPr>
          <p:cNvCxnSpPr>
            <a:cxnSpLocks/>
          </p:cNvCxnSpPr>
          <p:nvPr/>
        </p:nvCxnSpPr>
        <p:spPr>
          <a:xfrm flipV="1">
            <a:off x="2844918" y="5275908"/>
            <a:ext cx="8829272" cy="0"/>
          </a:xfrm>
          <a:prstGeom prst="line">
            <a:avLst/>
          </a:prstGeom>
          <a:ln w="38100">
            <a:solidFill>
              <a:schemeClr val="bg2"/>
            </a:solidFill>
            <a:headEnd type="diamond" w="lg" len="sm"/>
            <a:tailEnd type="diamond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AutoShape 167">
            <a:extLst>
              <a:ext uri="{FF2B5EF4-FFF2-40B4-BE49-F238E27FC236}">
                <a16:creationId xmlns:a16="http://schemas.microsoft.com/office/drawing/2014/main" id="{ECCF6F6B-4CC1-1F92-90F3-6238947A08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56391" y="5158005"/>
            <a:ext cx="180892" cy="220662"/>
          </a:xfrm>
          <a:prstGeom prst="diamond">
            <a:avLst/>
          </a:prstGeom>
          <a:solidFill>
            <a:srgbClr val="C00000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AutoShape 167">
            <a:extLst>
              <a:ext uri="{FF2B5EF4-FFF2-40B4-BE49-F238E27FC236}">
                <a16:creationId xmlns:a16="http://schemas.microsoft.com/office/drawing/2014/main" id="{03CB2BFC-3F7D-5320-270E-24458C442E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75971" y="5158005"/>
            <a:ext cx="180892" cy="220662"/>
          </a:xfrm>
          <a:prstGeom prst="diamond">
            <a:avLst/>
          </a:prstGeom>
          <a:solidFill>
            <a:srgbClr val="C00000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AutoShape 167">
            <a:extLst>
              <a:ext uri="{FF2B5EF4-FFF2-40B4-BE49-F238E27FC236}">
                <a16:creationId xmlns:a16="http://schemas.microsoft.com/office/drawing/2014/main" id="{B34C4D54-55AD-D578-DEF3-D62F95112F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64013" y="5158005"/>
            <a:ext cx="180892" cy="220662"/>
          </a:xfrm>
          <a:prstGeom prst="diamond">
            <a:avLst/>
          </a:prstGeom>
          <a:solidFill>
            <a:srgbClr val="C00000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AutoShape 167">
            <a:extLst>
              <a:ext uri="{FF2B5EF4-FFF2-40B4-BE49-F238E27FC236}">
                <a16:creationId xmlns:a16="http://schemas.microsoft.com/office/drawing/2014/main" id="{86BA2842-ECFF-A715-C19D-B63530595E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92265" y="5158005"/>
            <a:ext cx="180892" cy="220662"/>
          </a:xfrm>
          <a:prstGeom prst="diamond">
            <a:avLst/>
          </a:prstGeom>
          <a:solidFill>
            <a:srgbClr val="C00000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AutoShape 167">
            <a:extLst>
              <a:ext uri="{FF2B5EF4-FFF2-40B4-BE49-F238E27FC236}">
                <a16:creationId xmlns:a16="http://schemas.microsoft.com/office/drawing/2014/main" id="{DE5F71D3-ED1C-4640-617B-E83A63A1A6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80307" y="5158005"/>
            <a:ext cx="180892" cy="220662"/>
          </a:xfrm>
          <a:prstGeom prst="diamond">
            <a:avLst/>
          </a:prstGeom>
          <a:solidFill>
            <a:srgbClr val="C00000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AutoShape 167">
            <a:extLst>
              <a:ext uri="{FF2B5EF4-FFF2-40B4-BE49-F238E27FC236}">
                <a16:creationId xmlns:a16="http://schemas.microsoft.com/office/drawing/2014/main" id="{8831CF8E-CE88-A256-3F73-0205FAF61F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68349" y="5158005"/>
            <a:ext cx="180892" cy="220662"/>
          </a:xfrm>
          <a:prstGeom prst="diamond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AutoShape 167">
            <a:extLst>
              <a:ext uri="{FF2B5EF4-FFF2-40B4-BE49-F238E27FC236}">
                <a16:creationId xmlns:a16="http://schemas.microsoft.com/office/drawing/2014/main" id="{55DE52E9-2D00-7B6C-3139-EDB8A5A480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04223" y="5158005"/>
            <a:ext cx="180892" cy="220662"/>
          </a:xfrm>
          <a:prstGeom prst="diamond">
            <a:avLst/>
          </a:prstGeom>
          <a:solidFill>
            <a:srgbClr val="C00000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AutoShape 167">
            <a:extLst>
              <a:ext uri="{FF2B5EF4-FFF2-40B4-BE49-F238E27FC236}">
                <a16:creationId xmlns:a16="http://schemas.microsoft.com/office/drawing/2014/main" id="{5D11455E-5654-79E1-A521-CCDFD679E0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28139" y="5158005"/>
            <a:ext cx="180892" cy="220662"/>
          </a:xfrm>
          <a:prstGeom prst="diamond">
            <a:avLst/>
          </a:prstGeom>
          <a:solidFill>
            <a:srgbClr val="C00000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AutoShape 167">
            <a:extLst>
              <a:ext uri="{FF2B5EF4-FFF2-40B4-BE49-F238E27FC236}">
                <a16:creationId xmlns:a16="http://schemas.microsoft.com/office/drawing/2014/main" id="{E4AC692D-70B2-CBB7-A84C-2E5DDB6E75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52055" y="5158005"/>
            <a:ext cx="180892" cy="220662"/>
          </a:xfrm>
          <a:prstGeom prst="diamond">
            <a:avLst/>
          </a:prstGeom>
          <a:solidFill>
            <a:srgbClr val="C00000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92E1EA17-8F36-70B9-2D43-C1FAB4449DAC}"/>
              </a:ext>
            </a:extLst>
          </p:cNvPr>
          <p:cNvCxnSpPr>
            <a:cxnSpLocks/>
            <a:stCxn id="31" idx="1"/>
          </p:cNvCxnSpPr>
          <p:nvPr/>
        </p:nvCxnSpPr>
        <p:spPr>
          <a:xfrm>
            <a:off x="7391006" y="3776811"/>
            <a:ext cx="4188755" cy="15938"/>
          </a:xfrm>
          <a:prstGeom prst="line">
            <a:avLst/>
          </a:prstGeom>
          <a:ln w="38100">
            <a:solidFill>
              <a:schemeClr val="tx2"/>
            </a:solidFill>
            <a:headEnd type="diamond" w="lg" len="sm"/>
            <a:tailEnd type="diamond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166">
            <a:extLst>
              <a:ext uri="{FF2B5EF4-FFF2-40B4-BE49-F238E27FC236}">
                <a16:creationId xmlns:a16="http://schemas.microsoft.com/office/drawing/2014/main" id="{3569C1AD-2CB0-A9E3-2FD0-D293639C79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82739" y="3374988"/>
            <a:ext cx="1852488" cy="2790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liver Final Report: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rket Opportunity Assessment</a:t>
            </a:r>
          </a:p>
        </p:txBody>
      </p:sp>
      <p:sp>
        <p:nvSpPr>
          <p:cNvPr id="37" name="Rectangle 166">
            <a:extLst>
              <a:ext uri="{FF2B5EF4-FFF2-40B4-BE49-F238E27FC236}">
                <a16:creationId xmlns:a16="http://schemas.microsoft.com/office/drawing/2014/main" id="{FB8EC39C-B85D-E884-32A9-E9769E8164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57796" y="3374066"/>
            <a:ext cx="1052564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view interim findings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0B24651D-4B44-AB87-7B24-F7408730EB57}"/>
              </a:ext>
            </a:extLst>
          </p:cNvPr>
          <p:cNvCxnSpPr>
            <a:cxnSpLocks/>
            <a:endCxn id="31" idx="1"/>
          </p:cNvCxnSpPr>
          <p:nvPr/>
        </p:nvCxnSpPr>
        <p:spPr>
          <a:xfrm flipV="1">
            <a:off x="3510471" y="3776811"/>
            <a:ext cx="3880535" cy="29185"/>
          </a:xfrm>
          <a:prstGeom prst="line">
            <a:avLst/>
          </a:prstGeom>
          <a:ln w="38100">
            <a:solidFill>
              <a:schemeClr val="tx2"/>
            </a:solidFill>
            <a:headEnd type="diamond" w="lg" len="sm"/>
            <a:tailEnd type="diamond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 166">
            <a:extLst>
              <a:ext uri="{FF2B5EF4-FFF2-40B4-BE49-F238E27FC236}">
                <a16:creationId xmlns:a16="http://schemas.microsoft.com/office/drawing/2014/main" id="{0C33EBD8-6F52-7461-ECA6-3B6EB089F5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55422" y="3465949"/>
            <a:ext cx="1327764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pare and align on research materials</a:t>
            </a:r>
          </a:p>
        </p:txBody>
      </p:sp>
      <p:sp>
        <p:nvSpPr>
          <p:cNvPr id="40" name="5-Point Star 45">
            <a:extLst>
              <a:ext uri="{FF2B5EF4-FFF2-40B4-BE49-F238E27FC236}">
                <a16:creationId xmlns:a16="http://schemas.microsoft.com/office/drawing/2014/main" id="{E64FB79A-76DF-0CC6-C5E2-4EB7B1B6AB72}"/>
              </a:ext>
            </a:extLst>
          </p:cNvPr>
          <p:cNvSpPr>
            <a:spLocks noChangeAspect="1"/>
          </p:cNvSpPr>
          <p:nvPr/>
        </p:nvSpPr>
        <p:spPr bwMode="auto">
          <a:xfrm>
            <a:off x="4792139" y="3667083"/>
            <a:ext cx="219456" cy="219456"/>
          </a:xfrm>
          <a:prstGeom prst="star5">
            <a:avLst/>
          </a:prstGeom>
          <a:solidFill>
            <a:srgbClr val="92D05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3200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" name="Rectangle 166">
            <a:extLst>
              <a:ext uri="{FF2B5EF4-FFF2-40B4-BE49-F238E27FC236}">
                <a16:creationId xmlns:a16="http://schemas.microsoft.com/office/drawing/2014/main" id="{DA5B0E81-58AD-C59E-983F-BF7325DD48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89845" y="3898749"/>
            <a:ext cx="2444384" cy="177952"/>
          </a:xfrm>
          <a:prstGeom prst="rect">
            <a:avLst/>
          </a:prstGeom>
          <a:solidFill>
            <a:srgbClr val="E8E9E9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nish primary research</a:t>
            </a:r>
          </a:p>
        </p:txBody>
      </p:sp>
      <p:sp>
        <p:nvSpPr>
          <p:cNvPr id="42" name="AutoShape 167">
            <a:extLst>
              <a:ext uri="{FF2B5EF4-FFF2-40B4-BE49-F238E27FC236}">
                <a16:creationId xmlns:a16="http://schemas.microsoft.com/office/drawing/2014/main" id="{54B6E24E-4B26-225E-B36E-D32EF3CC17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28066" y="3691081"/>
            <a:ext cx="182880" cy="219456"/>
          </a:xfrm>
          <a:prstGeom prst="diamond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3200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5-Point Star 45">
            <a:extLst>
              <a:ext uri="{FF2B5EF4-FFF2-40B4-BE49-F238E27FC236}">
                <a16:creationId xmlns:a16="http://schemas.microsoft.com/office/drawing/2014/main" id="{7C0A4FFB-7C77-606F-2A51-BD7E0027A083}"/>
              </a:ext>
            </a:extLst>
          </p:cNvPr>
          <p:cNvSpPr>
            <a:spLocks noChangeAspect="1"/>
          </p:cNvSpPr>
          <p:nvPr/>
        </p:nvSpPr>
        <p:spPr bwMode="auto">
          <a:xfrm>
            <a:off x="7289071" y="3667083"/>
            <a:ext cx="219456" cy="219456"/>
          </a:xfrm>
          <a:prstGeom prst="star5">
            <a:avLst/>
          </a:prstGeom>
          <a:solidFill>
            <a:srgbClr val="92D05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3200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AutoShape 167">
            <a:extLst>
              <a:ext uri="{FF2B5EF4-FFF2-40B4-BE49-F238E27FC236}">
                <a16:creationId xmlns:a16="http://schemas.microsoft.com/office/drawing/2014/main" id="{333BAA0D-998B-E1CC-4EDD-C647F57B18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07592" y="3667083"/>
            <a:ext cx="182880" cy="219456"/>
          </a:xfrm>
          <a:prstGeom prst="diamond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3200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1" name="Rectangle 166">
            <a:extLst>
              <a:ext uri="{FF2B5EF4-FFF2-40B4-BE49-F238E27FC236}">
                <a16:creationId xmlns:a16="http://schemas.microsoft.com/office/drawing/2014/main" id="{149EDB1B-2F61-5E04-A3EB-3E7BC4507D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42924" y="2851032"/>
            <a:ext cx="759884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ary Research</a:t>
            </a:r>
          </a:p>
        </p:txBody>
      </p:sp>
      <p:sp>
        <p:nvSpPr>
          <p:cNvPr id="55" name="AutoShape 167">
            <a:extLst>
              <a:ext uri="{FF2B5EF4-FFF2-40B4-BE49-F238E27FC236}">
                <a16:creationId xmlns:a16="http://schemas.microsoft.com/office/drawing/2014/main" id="{8D6957BA-AEB1-4534-F555-0B2DAE70CC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40097" y="5158005"/>
            <a:ext cx="180892" cy="220662"/>
          </a:xfrm>
          <a:prstGeom prst="diamond">
            <a:avLst/>
          </a:prstGeom>
          <a:solidFill>
            <a:srgbClr val="C00000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EBF252BE-5CEA-2FBE-1982-0AEE1CE38778}"/>
              </a:ext>
            </a:extLst>
          </p:cNvPr>
          <p:cNvCxnSpPr>
            <a:cxnSpLocks/>
          </p:cNvCxnSpPr>
          <p:nvPr/>
        </p:nvCxnSpPr>
        <p:spPr>
          <a:xfrm>
            <a:off x="6869044" y="4623501"/>
            <a:ext cx="4086583" cy="5400"/>
          </a:xfrm>
          <a:prstGeom prst="line">
            <a:avLst/>
          </a:prstGeom>
          <a:ln w="38100">
            <a:solidFill>
              <a:schemeClr val="tx2"/>
            </a:solidFill>
            <a:headEnd type="diamond" w="lg" len="sm"/>
            <a:tailEnd type="diamond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AutoShape 167">
            <a:extLst>
              <a:ext uri="{FF2B5EF4-FFF2-40B4-BE49-F238E27FC236}">
                <a16:creationId xmlns:a16="http://schemas.microsoft.com/office/drawing/2014/main" id="{7D8C9FAC-C51E-4849-8CD1-54FA501340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73180" y="4521519"/>
            <a:ext cx="182880" cy="219456"/>
          </a:xfrm>
          <a:prstGeom prst="diamond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3200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9" name="Rectangle 166">
            <a:extLst>
              <a:ext uri="{FF2B5EF4-FFF2-40B4-BE49-F238E27FC236}">
                <a16:creationId xmlns:a16="http://schemas.microsoft.com/office/drawing/2014/main" id="{51E85BB0-8E45-6951-4D22-5B32286A20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93672" y="4220407"/>
            <a:ext cx="1517770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liver Final Model with Revenue Forecasts</a:t>
            </a:r>
            <a:endParaRPr kumimoji="0" lang="en-US" sz="900" b="0" i="0" u="none" strike="noStrike" kern="1200" cap="none" spc="0" normalizeH="0" baseline="30000" noProof="0">
              <a:ln>
                <a:noFill/>
              </a:ln>
              <a:solidFill>
                <a:srgbClr val="3F43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0" name="Rectangle 166">
            <a:extLst>
              <a:ext uri="{FF2B5EF4-FFF2-40B4-BE49-F238E27FC236}">
                <a16:creationId xmlns:a16="http://schemas.microsoft.com/office/drawing/2014/main" id="{F46F7069-2F06-EDAC-7213-15B14A7764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73079" y="4250814"/>
            <a:ext cx="1517770" cy="2676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view Interim Model and Forecasts</a:t>
            </a:r>
            <a:endParaRPr kumimoji="0" lang="en-US" sz="900" b="0" i="0" u="none" strike="noStrike" kern="1200" cap="none" spc="0" normalizeH="0" baseline="30000" noProof="0">
              <a:ln>
                <a:noFill/>
              </a:ln>
              <a:solidFill>
                <a:srgbClr val="3F43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67F237D0-AB72-5634-1DB0-E127775BEF8A}"/>
              </a:ext>
            </a:extLst>
          </p:cNvPr>
          <p:cNvCxnSpPr>
            <a:cxnSpLocks/>
          </p:cNvCxnSpPr>
          <p:nvPr/>
        </p:nvCxnSpPr>
        <p:spPr>
          <a:xfrm>
            <a:off x="2882774" y="3256722"/>
            <a:ext cx="2132332" cy="0"/>
          </a:xfrm>
          <a:prstGeom prst="line">
            <a:avLst/>
          </a:prstGeom>
          <a:ln w="38100">
            <a:solidFill>
              <a:schemeClr val="tx2"/>
            </a:solidFill>
            <a:headEnd type="diamond" w="lg" len="sm"/>
            <a:tailEnd type="diamond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AutoShape 167">
            <a:extLst>
              <a:ext uri="{FF2B5EF4-FFF2-40B4-BE49-F238E27FC236}">
                <a16:creationId xmlns:a16="http://schemas.microsoft.com/office/drawing/2014/main" id="{067B76D9-4205-5D76-CEF9-5C7E19080E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12702" y="3160822"/>
            <a:ext cx="182880" cy="219456"/>
          </a:xfrm>
          <a:prstGeom prst="diamond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3200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3" name="AutoShape 167">
            <a:extLst>
              <a:ext uri="{FF2B5EF4-FFF2-40B4-BE49-F238E27FC236}">
                <a16:creationId xmlns:a16="http://schemas.microsoft.com/office/drawing/2014/main" id="{B0847DE3-E735-8543-CA37-E4B28F4DD6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97902" y="3160822"/>
            <a:ext cx="182880" cy="219456"/>
          </a:xfrm>
          <a:prstGeom prst="diamond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3200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4" name="AutoShape 167">
            <a:extLst>
              <a:ext uri="{FF2B5EF4-FFF2-40B4-BE49-F238E27FC236}">
                <a16:creationId xmlns:a16="http://schemas.microsoft.com/office/drawing/2014/main" id="{D71E5B00-0452-9553-E22A-4097575B10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55302" y="3160822"/>
            <a:ext cx="182880" cy="219456"/>
          </a:xfrm>
          <a:prstGeom prst="diamond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3200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AutoShape 167">
            <a:extLst>
              <a:ext uri="{FF2B5EF4-FFF2-40B4-BE49-F238E27FC236}">
                <a16:creationId xmlns:a16="http://schemas.microsoft.com/office/drawing/2014/main" id="{183532F3-BE6C-BF39-6B7A-90E04BC342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44433" y="5158005"/>
            <a:ext cx="180892" cy="220662"/>
          </a:xfrm>
          <a:prstGeom prst="diamond">
            <a:avLst/>
          </a:prstGeom>
          <a:solidFill>
            <a:srgbClr val="C00000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9714058-13EA-DE7E-D55E-D9FB4FDD3FDD}"/>
              </a:ext>
            </a:extLst>
          </p:cNvPr>
          <p:cNvGrpSpPr/>
          <p:nvPr/>
        </p:nvGrpSpPr>
        <p:grpSpPr>
          <a:xfrm>
            <a:off x="10213848" y="1135313"/>
            <a:ext cx="1365913" cy="1066050"/>
            <a:chOff x="10213848" y="1135313"/>
            <a:chExt cx="1365913" cy="1066050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5C97030C-7BD7-6553-64DD-4B3A0B241F7C}"/>
                </a:ext>
              </a:extLst>
            </p:cNvPr>
            <p:cNvGrpSpPr/>
            <p:nvPr/>
          </p:nvGrpSpPr>
          <p:grpSpPr>
            <a:xfrm>
              <a:off x="10213848" y="1135313"/>
              <a:ext cx="1365913" cy="1066050"/>
              <a:chOff x="10077710" y="2778825"/>
              <a:chExt cx="1365913" cy="1066050"/>
            </a:xfrm>
          </p:grpSpPr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CD6BE600-710D-A6E2-5FFD-C26A8CAF96C1}"/>
                  </a:ext>
                </a:extLst>
              </p:cNvPr>
              <p:cNvSpPr/>
              <p:nvPr/>
            </p:nvSpPr>
            <p:spPr bwMode="auto">
              <a:xfrm>
                <a:off x="10077710" y="2778825"/>
                <a:ext cx="1365913" cy="1066050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384048" tIns="45720" rIns="91440" bIns="45720" numCol="1" rtlCol="0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Arial"/>
                    <a:ea typeface="+mn-ea"/>
                    <a:cs typeface="Calibri" pitchFamily="34" charset="0"/>
                  </a:rPr>
                  <a:t>				</a:t>
                </a:r>
              </a:p>
              <a:p>
                <a:pPr eaLnBrk="0" hangingPunct="0">
                  <a:defRPr/>
                </a:pPr>
                <a:endParaRPr lang="en-US" sz="1000" kern="0">
                  <a:latin typeface="Arial"/>
                </a:endParaRPr>
              </a:p>
              <a:p>
                <a:pPr eaLnBrk="0" hangingPunct="0">
                  <a:defRPr/>
                </a:pPr>
                <a:endParaRPr lang="en-US" sz="1000" kern="0">
                  <a:latin typeface="Arial"/>
                </a:endParaRPr>
              </a:p>
              <a:p>
                <a:pPr eaLnBrk="0" hangingPunct="0">
                  <a:defRPr/>
                </a:pPr>
                <a:endParaRPr lang="en-US" sz="1000" kern="0">
                  <a:latin typeface="Arial"/>
                </a:endParaRPr>
              </a:p>
              <a:p>
                <a:pPr eaLnBrk="0" hangingPunct="0">
                  <a:defRPr/>
                </a:pPr>
                <a:endParaRPr lang="en-US" sz="1000" kern="0">
                  <a:latin typeface="Arial"/>
                </a:endParaRPr>
              </a:p>
              <a:p>
                <a:pPr eaLnBrk="0" hangingPunct="0">
                  <a:defRPr/>
                </a:pPr>
                <a:endParaRPr lang="en-US" sz="1000" kern="0">
                  <a:latin typeface="Arial"/>
                </a:endParaRPr>
              </a:p>
              <a:p>
                <a:pPr eaLnBrk="0" hangingPunct="0">
                  <a:defRPr/>
                </a:pPr>
                <a:r>
                  <a:rPr lang="en-US" sz="1000" kern="0">
                    <a:latin typeface="Arial"/>
                  </a:rPr>
                  <a:t>Holiday</a:t>
                </a:r>
              </a:p>
              <a:p>
                <a:pPr marL="0" marR="0" lvl="0" indent="0" algn="ctr" defTabSz="914400" rtl="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Calibri" pitchFamily="34" charset="0"/>
                </a:endParaRPr>
              </a:p>
            </p:txBody>
          </p:sp>
          <p:sp>
            <p:nvSpPr>
              <p:cNvPr id="8" name="AutoShape 167">
                <a:extLst>
                  <a:ext uri="{FF2B5EF4-FFF2-40B4-BE49-F238E27FC236}">
                    <a16:creationId xmlns:a16="http://schemas.microsoft.com/office/drawing/2014/main" id="{93C5B699-AD9D-8A2C-A511-752F964570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89287" y="3341110"/>
                <a:ext cx="182880" cy="219456"/>
              </a:xfrm>
              <a:prstGeom prst="diamond">
                <a:avLst/>
              </a:prstGeom>
              <a:solidFill>
                <a:srgbClr val="C000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txBody>
              <a:bodyPr vert="horz" wrap="none" lIns="45720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roject Update</a:t>
                </a:r>
              </a:p>
            </p:txBody>
          </p:sp>
          <p:sp>
            <p:nvSpPr>
              <p:cNvPr id="9" name="AutoShape 167">
                <a:extLst>
                  <a:ext uri="{FF2B5EF4-FFF2-40B4-BE49-F238E27FC236}">
                    <a16:creationId xmlns:a16="http://schemas.microsoft.com/office/drawing/2014/main" id="{AAA5ADC6-2C18-5907-C67D-84F484D259C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89287" y="3094474"/>
                <a:ext cx="182880" cy="219456"/>
              </a:xfrm>
              <a:prstGeom prst="diamond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txBody>
              <a:bodyPr vert="horz" wrap="none" lIns="45720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Key Meeting</a:t>
                </a:r>
              </a:p>
            </p:txBody>
          </p:sp>
          <p:sp>
            <p:nvSpPr>
              <p:cNvPr id="10" name="5-Point Star 45">
                <a:extLst>
                  <a:ext uri="{FF2B5EF4-FFF2-40B4-BE49-F238E27FC236}">
                    <a16:creationId xmlns:a16="http://schemas.microsoft.com/office/drawing/2014/main" id="{DC13F7CC-7988-DDD3-A2CD-74673622C9D3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0170433" y="2849044"/>
                <a:ext cx="219456" cy="219456"/>
              </a:xfrm>
              <a:prstGeom prst="star5">
                <a:avLst/>
              </a:prstGeom>
              <a:solidFill>
                <a:srgbClr val="92D050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none" lIns="457200" tIns="45720" rIns="91440" bIns="45720" numCol="1" rtlCol="0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Key Milestone</a:t>
                </a:r>
              </a:p>
            </p:txBody>
          </p:sp>
        </p:grp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3326C941-7D31-33F5-4E40-EC2A2A503FD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306571" y="1939642"/>
              <a:ext cx="239218" cy="239218"/>
            </a:xfrm>
            <a:prstGeom prst="rect">
              <a:avLst/>
            </a:prstGeom>
          </p:spPr>
        </p:pic>
      </p:grpSp>
      <p:pic>
        <p:nvPicPr>
          <p:cNvPr id="20" name="Picture 19">
            <a:extLst>
              <a:ext uri="{FF2B5EF4-FFF2-40B4-BE49-F238E27FC236}">
                <a16:creationId xmlns:a16="http://schemas.microsoft.com/office/drawing/2014/main" id="{E6BD3943-8B35-7989-996C-44498878CC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82739" y="2874488"/>
            <a:ext cx="423789" cy="423789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5C94AEA0-BFCB-F409-4A94-F223F1F27C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12235" y="2874488"/>
            <a:ext cx="423789" cy="423789"/>
          </a:xfrm>
          <a:prstGeom prst="rect">
            <a:avLst/>
          </a:prstGeom>
        </p:spPr>
      </p:pic>
      <p:sp>
        <p:nvSpPr>
          <p:cNvPr id="50" name="Rectangle 49">
            <a:extLst>
              <a:ext uri="{FF2B5EF4-FFF2-40B4-BE49-F238E27FC236}">
                <a16:creationId xmlns:a16="http://schemas.microsoft.com/office/drawing/2014/main" id="{FCF0E1E4-02E8-9CF3-E7D7-A34715E2E30E}"/>
              </a:ext>
            </a:extLst>
          </p:cNvPr>
          <p:cNvSpPr/>
          <p:nvPr/>
        </p:nvSpPr>
        <p:spPr>
          <a:xfrm>
            <a:off x="4769447" y="2591935"/>
            <a:ext cx="709039" cy="3031338"/>
          </a:xfrm>
          <a:prstGeom prst="rect">
            <a:avLst/>
          </a:prstGeom>
          <a:noFill/>
          <a:ln w="28575">
            <a:solidFill>
              <a:schemeClr val="accent3">
                <a:lumMod val="60000"/>
                <a:lumOff val="4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2D921024-352C-532D-77C4-04D22001B589}"/>
              </a:ext>
            </a:extLst>
          </p:cNvPr>
          <p:cNvSpPr txBox="1"/>
          <p:nvPr/>
        </p:nvSpPr>
        <p:spPr>
          <a:xfrm>
            <a:off x="4852377" y="5621554"/>
            <a:ext cx="569425" cy="38185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algn="ctr"/>
            <a:r>
              <a:rPr lang="en-US" sz="900" b="1" i="1" kern="0">
                <a:solidFill>
                  <a:srgbClr val="00B0F0"/>
                </a:solidFill>
              </a:rPr>
              <a:t>We are here</a:t>
            </a:r>
          </a:p>
        </p:txBody>
      </p:sp>
      <p:sp>
        <p:nvSpPr>
          <p:cNvPr id="47" name="AutoShape 167">
            <a:extLst>
              <a:ext uri="{FF2B5EF4-FFF2-40B4-BE49-F238E27FC236}">
                <a16:creationId xmlns:a16="http://schemas.microsoft.com/office/drawing/2014/main" id="{EA7F8F48-7835-4C00-E0EF-36CDD1CDE0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16181" y="5158005"/>
            <a:ext cx="180892" cy="220662"/>
          </a:xfrm>
          <a:prstGeom prst="diamond">
            <a:avLst/>
          </a:prstGeom>
          <a:solidFill>
            <a:srgbClr val="C00000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727B7049-D021-11B7-197C-45BD8D3BBA4C}"/>
              </a:ext>
            </a:extLst>
          </p:cNvPr>
          <p:cNvSpPr txBox="1"/>
          <p:nvPr/>
        </p:nvSpPr>
        <p:spPr>
          <a:xfrm>
            <a:off x="8980868" y="5640950"/>
            <a:ext cx="1325703" cy="339674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algn="ctr"/>
            <a:r>
              <a:rPr lang="en-US" sz="900" b="1" i="1" kern="0">
                <a:solidFill>
                  <a:schemeClr val="bg1">
                    <a:lumMod val="75000"/>
                  </a:schemeClr>
                </a:solidFill>
              </a:rPr>
              <a:t>H</a:t>
            </a:r>
            <a:r>
              <a:rPr lang="en-US" altLang="zh-CN" sz="900" b="1" i="1" kern="0">
                <a:solidFill>
                  <a:schemeClr val="bg1">
                    <a:lumMod val="75000"/>
                  </a:schemeClr>
                </a:solidFill>
              </a:rPr>
              <a:t>oliday  Week</a:t>
            </a:r>
            <a:endParaRPr lang="en-US" sz="900" b="1" i="1" kern="0">
              <a:solidFill>
                <a:schemeClr val="bg1">
                  <a:lumMod val="75000"/>
                </a:schemeClr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4E14F7C-AE2C-4E58-32A3-1602BFC3FD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90110" y="2874488"/>
            <a:ext cx="423789" cy="423789"/>
          </a:xfrm>
          <a:prstGeom prst="rect">
            <a:avLst/>
          </a:prstGeom>
        </p:spPr>
      </p:pic>
      <p:sp>
        <p:nvSpPr>
          <p:cNvPr id="31" name="AutoShape 167">
            <a:extLst>
              <a:ext uri="{FF2B5EF4-FFF2-40B4-BE49-F238E27FC236}">
                <a16:creationId xmlns:a16="http://schemas.microsoft.com/office/drawing/2014/main" id="{96154C7B-6B0A-7588-7277-CED82609ED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91006" y="3667083"/>
            <a:ext cx="182880" cy="219456"/>
          </a:xfrm>
          <a:prstGeom prst="diamond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3200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AutoShape 167">
            <a:extLst>
              <a:ext uri="{FF2B5EF4-FFF2-40B4-BE49-F238E27FC236}">
                <a16:creationId xmlns:a16="http://schemas.microsoft.com/office/drawing/2014/main" id="{D0014CA7-A175-0853-6B61-857FD199FDD3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11516736" y="3667083"/>
            <a:ext cx="154023" cy="219456"/>
          </a:xfrm>
          <a:prstGeom prst="diamond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3200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" name="5-Point Star 45">
            <a:extLst>
              <a:ext uri="{FF2B5EF4-FFF2-40B4-BE49-F238E27FC236}">
                <a16:creationId xmlns:a16="http://schemas.microsoft.com/office/drawing/2014/main" id="{399321A4-F7E9-0B5F-252A-080141BD4E6B}"/>
              </a:ext>
            </a:extLst>
          </p:cNvPr>
          <p:cNvSpPr>
            <a:spLocks noChangeAspect="1"/>
          </p:cNvSpPr>
          <p:nvPr/>
        </p:nvSpPr>
        <p:spPr bwMode="auto">
          <a:xfrm>
            <a:off x="11225151" y="4521519"/>
            <a:ext cx="219456" cy="219456"/>
          </a:xfrm>
          <a:prstGeom prst="star5">
            <a:avLst/>
          </a:prstGeom>
          <a:solidFill>
            <a:srgbClr val="FFC00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3200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5" name="Rectangle 166">
            <a:extLst>
              <a:ext uri="{FF2B5EF4-FFF2-40B4-BE49-F238E27FC236}">
                <a16:creationId xmlns:a16="http://schemas.microsoft.com/office/drawing/2014/main" id="{F2B078CC-FEA3-78CF-1D91-7D8341781F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31897" y="4234079"/>
            <a:ext cx="447864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PM</a:t>
            </a:r>
            <a:endParaRPr kumimoji="0" lang="en-US" sz="900" b="1" i="0" u="none" strike="noStrike" kern="1200" cap="none" spc="0" normalizeH="0" baseline="30000" noProof="0">
              <a:ln>
                <a:noFill/>
              </a:ln>
              <a:solidFill>
                <a:srgbClr val="3F43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AutoShape 167">
            <a:extLst>
              <a:ext uri="{FF2B5EF4-FFF2-40B4-BE49-F238E27FC236}">
                <a16:creationId xmlns:a16="http://schemas.microsoft.com/office/drawing/2014/main" id="{8CA2C0EA-61C4-73D2-811E-7B05DE760F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66001" y="4521519"/>
            <a:ext cx="182880" cy="219456"/>
          </a:xfrm>
          <a:prstGeom prst="diamond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3200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7" name="5-Point Star 45">
            <a:extLst>
              <a:ext uri="{FF2B5EF4-FFF2-40B4-BE49-F238E27FC236}">
                <a16:creationId xmlns:a16="http://schemas.microsoft.com/office/drawing/2014/main" id="{14FD4653-EB24-C20F-C664-02CB648C08DA}"/>
              </a:ext>
            </a:extLst>
          </p:cNvPr>
          <p:cNvSpPr>
            <a:spLocks noChangeAspect="1"/>
          </p:cNvSpPr>
          <p:nvPr/>
        </p:nvSpPr>
        <p:spPr bwMode="auto">
          <a:xfrm>
            <a:off x="10738164" y="4521519"/>
            <a:ext cx="219456" cy="219456"/>
          </a:xfrm>
          <a:prstGeom prst="star5">
            <a:avLst/>
          </a:prstGeom>
          <a:solidFill>
            <a:srgbClr val="92D05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3200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" name="Rectangle 166">
            <a:extLst>
              <a:ext uri="{FF2B5EF4-FFF2-40B4-BE49-F238E27FC236}">
                <a16:creationId xmlns:a16="http://schemas.microsoft.com/office/drawing/2014/main" id="{00C532E1-2C7B-5389-28C6-9F0DC33A10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98819" y="3883890"/>
            <a:ext cx="1079668" cy="314325"/>
          </a:xfrm>
          <a:prstGeom prst="rect">
            <a:avLst/>
          </a:prstGeom>
          <a:solidFill>
            <a:schemeClr val="accent5">
              <a:lumMod val="20000"/>
              <a:lumOff val="80000"/>
              <a:alpha val="5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ick-off primary research</a:t>
            </a:r>
          </a:p>
        </p:txBody>
      </p:sp>
      <p:sp>
        <p:nvSpPr>
          <p:cNvPr id="48" name="Rectangle 166">
            <a:extLst>
              <a:ext uri="{FF2B5EF4-FFF2-40B4-BE49-F238E27FC236}">
                <a16:creationId xmlns:a16="http://schemas.microsoft.com/office/drawing/2014/main" id="{4BE9C45F-C0FF-C6AA-7946-EBEE92B607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05746" y="2888477"/>
            <a:ext cx="1462690" cy="267474"/>
          </a:xfrm>
          <a:prstGeom prst="rect">
            <a:avLst/>
          </a:prstGeom>
          <a:solidFill>
            <a:schemeClr val="accent5">
              <a:lumMod val="20000"/>
              <a:lumOff val="80000"/>
              <a:alpha val="5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hape Initial Access Hypothesi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13C9619-C0AD-3BE9-5A52-C6C375B1E80B}"/>
              </a:ext>
            </a:extLst>
          </p:cNvPr>
          <p:cNvSpPr/>
          <p:nvPr/>
        </p:nvSpPr>
        <p:spPr>
          <a:xfrm>
            <a:off x="3343143" y="1434665"/>
            <a:ext cx="2122556" cy="72939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Two milestones at risk with TPP delays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A4B5862C-EA84-573D-5026-EB2524BE77E8}"/>
              </a:ext>
            </a:extLst>
          </p:cNvPr>
          <p:cNvCxnSpPr>
            <a:cxnSpLocks/>
            <a:stCxn id="14" idx="2"/>
          </p:cNvCxnSpPr>
          <p:nvPr/>
        </p:nvCxnSpPr>
        <p:spPr>
          <a:xfrm>
            <a:off x="4404421" y="2164059"/>
            <a:ext cx="0" cy="894905"/>
          </a:xfrm>
          <a:prstGeom prst="straightConnector1">
            <a:avLst/>
          </a:prstGeom>
          <a:ln w="19050" cap="rnd">
            <a:solidFill>
              <a:schemeClr val="accent5"/>
            </a:solidFill>
            <a:round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7AEB2B94-F356-99EF-5BB0-32CC2CB04838}"/>
              </a:ext>
            </a:extLst>
          </p:cNvPr>
          <p:cNvCxnSpPr>
            <a:cxnSpLocks/>
          </p:cNvCxnSpPr>
          <p:nvPr/>
        </p:nvCxnSpPr>
        <p:spPr>
          <a:xfrm>
            <a:off x="4404421" y="3048555"/>
            <a:ext cx="0" cy="990593"/>
          </a:xfrm>
          <a:prstGeom prst="straightConnector1">
            <a:avLst/>
          </a:prstGeom>
          <a:ln w="19050" cap="rnd">
            <a:solidFill>
              <a:schemeClr val="accent5"/>
            </a:solidFill>
            <a:round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7407429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E34B5A-BE0B-2CFA-F00F-24C5613F32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B35B27-1189-2D23-445F-0A429A92885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Research Material Alignmen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93551FA-C190-A075-F8A3-207CE33F7E0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8451808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6CF0C3-09F4-934C-13AF-215CE0BB30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verview of Analogues (Non-Oncology)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C2ABF646-B0A5-97E9-786C-58716AE54FF4}"/>
              </a:ext>
            </a:extLst>
          </p:cNvPr>
          <p:cNvGraphicFramePr>
            <a:graphicFrameLocks noGrp="1"/>
          </p:cNvGraphicFramePr>
          <p:nvPr/>
        </p:nvGraphicFramePr>
        <p:xfrm>
          <a:off x="609598" y="1266003"/>
          <a:ext cx="11140066" cy="3781872"/>
        </p:xfrm>
        <a:graphic>
          <a:graphicData uri="http://schemas.openxmlformats.org/drawingml/2006/table">
            <a:tbl>
              <a:tblPr bandRow="1">
                <a:tableStyleId>{EB344D84-9AFB-497E-A393-DC336BA19D2E}</a:tableStyleId>
              </a:tblPr>
              <a:tblGrid>
                <a:gridCol w="1861215">
                  <a:extLst>
                    <a:ext uri="{9D8B030D-6E8A-4147-A177-3AD203B41FA5}">
                      <a16:colId xmlns:a16="http://schemas.microsoft.com/office/drawing/2014/main" val="3928929477"/>
                    </a:ext>
                  </a:extLst>
                </a:gridCol>
                <a:gridCol w="2134553">
                  <a:extLst>
                    <a:ext uri="{9D8B030D-6E8A-4147-A177-3AD203B41FA5}">
                      <a16:colId xmlns:a16="http://schemas.microsoft.com/office/drawing/2014/main" val="639185829"/>
                    </a:ext>
                  </a:extLst>
                </a:gridCol>
                <a:gridCol w="670612">
                  <a:extLst>
                    <a:ext uri="{9D8B030D-6E8A-4147-A177-3AD203B41FA5}">
                      <a16:colId xmlns:a16="http://schemas.microsoft.com/office/drawing/2014/main" val="3842080131"/>
                    </a:ext>
                  </a:extLst>
                </a:gridCol>
                <a:gridCol w="912564">
                  <a:extLst>
                    <a:ext uri="{9D8B030D-6E8A-4147-A177-3AD203B41FA5}">
                      <a16:colId xmlns:a16="http://schemas.microsoft.com/office/drawing/2014/main" val="1642588372"/>
                    </a:ext>
                  </a:extLst>
                </a:gridCol>
                <a:gridCol w="794446">
                  <a:extLst>
                    <a:ext uri="{9D8B030D-6E8A-4147-A177-3AD203B41FA5}">
                      <a16:colId xmlns:a16="http://schemas.microsoft.com/office/drawing/2014/main" val="649793057"/>
                    </a:ext>
                  </a:extLst>
                </a:gridCol>
                <a:gridCol w="794446">
                  <a:extLst>
                    <a:ext uri="{9D8B030D-6E8A-4147-A177-3AD203B41FA5}">
                      <a16:colId xmlns:a16="http://schemas.microsoft.com/office/drawing/2014/main" val="4090713701"/>
                    </a:ext>
                  </a:extLst>
                </a:gridCol>
                <a:gridCol w="794446">
                  <a:extLst>
                    <a:ext uri="{9D8B030D-6E8A-4147-A177-3AD203B41FA5}">
                      <a16:colId xmlns:a16="http://schemas.microsoft.com/office/drawing/2014/main" val="2506157745"/>
                    </a:ext>
                  </a:extLst>
                </a:gridCol>
                <a:gridCol w="794446">
                  <a:extLst>
                    <a:ext uri="{9D8B030D-6E8A-4147-A177-3AD203B41FA5}">
                      <a16:colId xmlns:a16="http://schemas.microsoft.com/office/drawing/2014/main" val="734136514"/>
                    </a:ext>
                  </a:extLst>
                </a:gridCol>
                <a:gridCol w="794446">
                  <a:extLst>
                    <a:ext uri="{9D8B030D-6E8A-4147-A177-3AD203B41FA5}">
                      <a16:colId xmlns:a16="http://schemas.microsoft.com/office/drawing/2014/main" val="3361247116"/>
                    </a:ext>
                  </a:extLst>
                </a:gridCol>
                <a:gridCol w="794446">
                  <a:extLst>
                    <a:ext uri="{9D8B030D-6E8A-4147-A177-3AD203B41FA5}">
                      <a16:colId xmlns:a16="http://schemas.microsoft.com/office/drawing/2014/main" val="3934768738"/>
                    </a:ext>
                  </a:extLst>
                </a:gridCol>
                <a:gridCol w="794446">
                  <a:extLst>
                    <a:ext uri="{9D8B030D-6E8A-4147-A177-3AD203B41FA5}">
                      <a16:colId xmlns:a16="http://schemas.microsoft.com/office/drawing/2014/main" val="412156773"/>
                    </a:ext>
                  </a:extLst>
                </a:gridCol>
              </a:tblGrid>
              <a:tr h="182082">
                <a:tc rowSpan="2">
                  <a:txBody>
                    <a:bodyPr/>
                    <a:lstStyle/>
                    <a:p>
                      <a:pPr algn="l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nalogues</a:t>
                      </a: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ndication</a:t>
                      </a:r>
                    </a:p>
                  </a:txBody>
                  <a:tcPr marL="45720" marR="45720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nnual WAC</a:t>
                      </a: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US prevalence</a:t>
                      </a: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ctr"/>
                      <a:r>
                        <a:rPr lang="en-US" sz="1100" b="1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riteria for analogue selection</a:t>
                      </a:r>
                    </a:p>
                  </a:txBody>
                  <a:tcPr marL="45720" marR="45720" marT="18288" marB="182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A9A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45720" marR="45720" marT="18288" marB="18288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5282015"/>
                  </a:ext>
                </a:extLst>
              </a:tr>
              <a:tr h="63049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>
                      <a:noFill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>
                      <a:noFill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>
                      <a:noFill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dult population only</a:t>
                      </a:r>
                      <a:endParaRPr lang="en-US" sz="1100" b="0"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revalence 20-80k</a:t>
                      </a:r>
                      <a:endParaRPr lang="en-US" sz="1100" b="0"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edian survival</a:t>
                      </a:r>
                      <a:b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2-5 years</a:t>
                      </a:r>
                      <a:r>
                        <a:rPr lang="en-US" sz="1100" b="0" baseline="3000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endParaRPr lang="en-US" sz="1100" b="0" baseline="30000"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harmacy benefit </a:t>
                      </a: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isease modifying</a:t>
                      </a:r>
                      <a:endParaRPr lang="en-US" sz="1100" b="0"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hronic</a:t>
                      </a:r>
                      <a:b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&gt;1 yr treatment)</a:t>
                      </a:r>
                      <a:endParaRPr lang="en-US" sz="1100" b="0"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# of criteria met</a:t>
                      </a: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A9A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3291600"/>
                  </a:ext>
                </a:extLst>
              </a:tr>
              <a:tr h="33155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TTRuby (acoramidis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TTR-CM (cardiac amyloidosis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$244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5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2777103"/>
                  </a:ext>
                </a:extLst>
              </a:tr>
              <a:tr h="23777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jjaara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omelotinib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yelofibrosis + anemia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$346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8601377"/>
                  </a:ext>
                </a:extLst>
              </a:tr>
              <a:tr h="33155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Zilbrysq (zilucoplan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Generalized myasthenia gravis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$569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5897818"/>
                  </a:ext>
                </a:extLst>
              </a:tr>
              <a:tr h="33155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ilspari (sparsentan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gA nephropathy (proteinuria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$149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0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9170967"/>
                  </a:ext>
                </a:extLst>
              </a:tr>
              <a:tr h="33155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qirvo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afibranor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rimary biliary cholangitis (PBC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$138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2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7948547"/>
                  </a:ext>
                </a:extLst>
              </a:tr>
              <a:tr h="33155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ivdelzi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eladelpar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rimary biliary cholangitis (PBC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$151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2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2441923"/>
                  </a:ext>
                </a:extLst>
              </a:tr>
              <a:tr h="23777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anrafia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trasentan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gA nephropathy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$160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0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40271566"/>
                  </a:ext>
                </a:extLst>
              </a:tr>
              <a:tr h="23777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oenja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eniolisib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ctivated PI3K</a:t>
                      </a:r>
                      <a:r>
                        <a:rPr lang="el-GR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δ 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yndrome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$594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00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4911408"/>
                  </a:ext>
                </a:extLst>
              </a:tr>
              <a:tr h="33155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lyftrek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anzacaftor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/ 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ezacaftor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/ 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eutivacaftor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ystic fibrosis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$369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4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1617106"/>
                  </a:ext>
                </a:extLst>
              </a:tr>
              <a:tr h="138244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texli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henodiol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TX (cholestanol disorder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$436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00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7081732"/>
                  </a:ext>
                </a:extLst>
              </a:tr>
            </a:tbl>
          </a:graphicData>
        </a:graphic>
      </p:graphicFrame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9326DA3D-71C4-E1D0-F2C6-1E3A4644700F}"/>
              </a:ext>
            </a:extLst>
          </p:cNvPr>
          <p:cNvSpPr txBox="1">
            <a:spLocks/>
          </p:cNvSpPr>
          <p:nvPr/>
        </p:nvSpPr>
        <p:spPr>
          <a:xfrm>
            <a:off x="609596" y="826878"/>
            <a:ext cx="10972801" cy="3498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marR="0" lvl="0" indent="0" algn="l" defTabSz="1219261" rtl="0" eaLnBrk="1" fontAlgn="auto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lang="en-US" sz="1400" b="1" i="1" u="none" strike="noStrike" kern="1200" cap="none" spc="0" baseline="0">
                <a:solidFill>
                  <a:schemeClr val="tx2"/>
                </a:solidFill>
                <a:uFillTx/>
                <a:latin typeface="+mn-lt"/>
              </a:defRPr>
            </a:lvl1pPr>
            <a:lvl2pPr marL="457200" marR="0" lvl="1" indent="-182880" algn="l" defTabSz="1219261" rtl="0" eaLnBrk="1" fontAlgn="auto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400" b="0" i="0" u="none" strike="noStrike" kern="1200" cap="none" spc="0" baseline="0">
                <a:solidFill>
                  <a:schemeClr val="tx1"/>
                </a:solidFill>
                <a:uFillTx/>
                <a:latin typeface="+mn-lt"/>
              </a:defRPr>
            </a:lvl2pPr>
            <a:lvl3pPr marL="731520" marR="0" lvl="2" indent="-182880" algn="l" defTabSz="1219261" rtl="0" eaLnBrk="1" fontAlgn="auto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2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3pPr>
            <a:lvl4pPr marL="1005840" marR="0" lvl="3" indent="-182880" algn="l" defTabSz="1219261" rtl="0" eaLnBrk="1" fontAlgn="auto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1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4pPr>
            <a:lvl5pPr marL="1280160" marR="0" lvl="4" indent="-182880" algn="l" defTabSz="1219261" rtl="0" eaLnBrk="1" fontAlgn="auto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0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5pPr>
            <a:lvl8pPr marL="381019" indent="-152408" eaLnBrk="1" hangingPunct="1">
              <a:buFont typeface="Courier New" panose="02070309020205020404" pitchFamily="49" charset="0"/>
              <a:buChar char="­"/>
              <a:defRPr lang="en-US" sz="1600" b="0" i="0" u="none" strike="noStrike" kern="1200" cap="none" spc="0" baseline="0" dirty="0">
                <a:solidFill>
                  <a:schemeClr val="tx1"/>
                </a:solidFill>
                <a:uFillTx/>
                <a:latin typeface="+mn-lt"/>
              </a:defRPr>
            </a:lvl8pPr>
          </a:lstStyle>
          <a:p>
            <a:r>
              <a:rPr lang="en-US"/>
              <a:t>All analogues were launched in or after 2023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23E25DD-697C-750D-4D52-58C01A1A32EA}"/>
              </a:ext>
            </a:extLst>
          </p:cNvPr>
          <p:cNvSpPr/>
          <p:nvPr/>
        </p:nvSpPr>
        <p:spPr>
          <a:xfrm>
            <a:off x="526568" y="5749159"/>
            <a:ext cx="11067261" cy="5736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 b="1">
                <a:solidFill>
                  <a:schemeClr val="tx1"/>
                </a:solidFill>
              </a:rPr>
              <a:t>1. </a:t>
            </a:r>
            <a:r>
              <a:rPr lang="en-US" sz="800" b="1" err="1">
                <a:solidFill>
                  <a:schemeClr val="tx1"/>
                </a:solidFill>
              </a:rPr>
              <a:t>ATTRuby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Median OS 2-5 years depending on disease stage. Source: Naoto et al., Journal of the American Heart Association, 2024. </a:t>
            </a:r>
            <a:r>
              <a:rPr lang="en-US" sz="800" b="1" err="1">
                <a:solidFill>
                  <a:schemeClr val="tx1"/>
                </a:solidFill>
              </a:rPr>
              <a:t>Ojjaara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Median OS 2.1 years. Source: Green et al., MPN Hub</a:t>
            </a:r>
            <a:r>
              <a:rPr lang="en-US" sz="800" i="1">
                <a:solidFill>
                  <a:schemeClr val="tx1"/>
                </a:solidFill>
              </a:rPr>
              <a:t>, </a:t>
            </a:r>
            <a:r>
              <a:rPr lang="en-US" sz="800">
                <a:solidFill>
                  <a:schemeClr val="tx1"/>
                </a:solidFill>
              </a:rPr>
              <a:t>2025. </a:t>
            </a:r>
            <a:r>
              <a:rPr lang="en-US" sz="800" b="1" err="1">
                <a:solidFill>
                  <a:schemeClr val="tx1"/>
                </a:solidFill>
              </a:rPr>
              <a:t>Zilbrysq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86% survival at 5 years, 79% at 10 years. Source: </a:t>
            </a:r>
            <a:r>
              <a:rPr lang="en-US" sz="800" err="1">
                <a:solidFill>
                  <a:schemeClr val="tx1"/>
                </a:solidFill>
              </a:rPr>
              <a:t>Khateb</a:t>
            </a:r>
            <a:r>
              <a:rPr lang="en-US" sz="800">
                <a:solidFill>
                  <a:schemeClr val="tx1"/>
                </a:solidFill>
              </a:rPr>
              <a:t> et al., Frontiers in Neurology, 2025. </a:t>
            </a:r>
            <a:r>
              <a:rPr lang="en-US" sz="800" b="1" err="1">
                <a:solidFill>
                  <a:schemeClr val="tx1"/>
                </a:solidFill>
              </a:rPr>
              <a:t>Ctexli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Median OS &gt; 5 years. Source: Nie et al., </a:t>
            </a:r>
            <a:r>
              <a:rPr lang="en-US" sz="800" err="1">
                <a:solidFill>
                  <a:schemeClr val="tx1"/>
                </a:solidFill>
              </a:rPr>
              <a:t>Orphanet</a:t>
            </a:r>
            <a:r>
              <a:rPr lang="en-US" sz="800">
                <a:solidFill>
                  <a:schemeClr val="tx1"/>
                </a:solidFill>
              </a:rPr>
              <a:t> J Rare Disease, 2014. </a:t>
            </a:r>
            <a:r>
              <a:rPr lang="en-US" sz="800" b="1" err="1">
                <a:solidFill>
                  <a:schemeClr val="tx1"/>
                </a:solidFill>
              </a:rPr>
              <a:t>Filspari</a:t>
            </a:r>
            <a:r>
              <a:rPr lang="en-US" sz="800" b="1">
                <a:solidFill>
                  <a:schemeClr val="tx1"/>
                </a:solidFill>
              </a:rPr>
              <a:t>, </a:t>
            </a:r>
            <a:r>
              <a:rPr lang="en-US" sz="800" b="1" err="1">
                <a:solidFill>
                  <a:schemeClr val="tx1"/>
                </a:solidFill>
              </a:rPr>
              <a:t>Vanrafia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Median kidney failure-free survival &gt; 5 years. Source: McGrogan et al., Nephrol Dial Transplant., 2011. </a:t>
            </a:r>
            <a:r>
              <a:rPr lang="en-US" sz="800" b="1" err="1">
                <a:solidFill>
                  <a:schemeClr val="tx1"/>
                </a:solidFill>
              </a:rPr>
              <a:t>Iqirvo</a:t>
            </a:r>
            <a:r>
              <a:rPr lang="en-US" sz="800" b="1">
                <a:solidFill>
                  <a:schemeClr val="tx1"/>
                </a:solidFill>
              </a:rPr>
              <a:t>, </a:t>
            </a:r>
            <a:r>
              <a:rPr lang="en-US" sz="800" b="1" err="1">
                <a:solidFill>
                  <a:schemeClr val="tx1"/>
                </a:solidFill>
              </a:rPr>
              <a:t>Livdelzi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Median OS &gt; 5 years. Source: Green et al., The Pharmaceutical Journal, 2023. </a:t>
            </a:r>
            <a:r>
              <a:rPr lang="en-US" sz="800" b="1" err="1">
                <a:solidFill>
                  <a:schemeClr val="tx1"/>
                </a:solidFill>
              </a:rPr>
              <a:t>Joenja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Median OS &gt; 5 years. Source: Mahendran et al., </a:t>
            </a:r>
            <a:r>
              <a:rPr lang="en-US" sz="800" err="1">
                <a:solidFill>
                  <a:schemeClr val="tx1"/>
                </a:solidFill>
              </a:rPr>
              <a:t>Orphanet</a:t>
            </a:r>
            <a:r>
              <a:rPr lang="en-US" sz="800">
                <a:solidFill>
                  <a:schemeClr val="tx1"/>
                </a:solidFill>
              </a:rPr>
              <a:t> J Rare Disease, 2025. </a:t>
            </a:r>
            <a:r>
              <a:rPr lang="en-US" sz="800" b="1" err="1">
                <a:solidFill>
                  <a:schemeClr val="tx1"/>
                </a:solidFill>
              </a:rPr>
              <a:t>Alyftrek</a:t>
            </a:r>
            <a:r>
              <a:rPr lang="en-US" sz="800" b="1">
                <a:solidFill>
                  <a:schemeClr val="tx1"/>
                </a:solidFill>
              </a:rPr>
              <a:t>:</a:t>
            </a:r>
            <a:r>
              <a:rPr lang="en-US" sz="800">
                <a:solidFill>
                  <a:schemeClr val="tx1"/>
                </a:solidFill>
              </a:rPr>
              <a:t> Median OS &gt; 5 years. Source: CF Foundation Patient Registry, 2025 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86B1FDD-4BDF-3345-98B1-2ED74F7ED276}"/>
              </a:ext>
            </a:extLst>
          </p:cNvPr>
          <p:cNvSpPr/>
          <p:nvPr/>
        </p:nvSpPr>
        <p:spPr>
          <a:xfrm>
            <a:off x="613890" y="2115020"/>
            <a:ext cx="11147185" cy="864663"/>
          </a:xfrm>
          <a:prstGeom prst="rect">
            <a:avLst/>
          </a:prstGeom>
          <a:solidFill>
            <a:srgbClr val="002352">
              <a:alpha val="25882"/>
            </a:srgb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DE7F0CE6-FCE9-7D50-E33D-6DF0B8BE0CBD}"/>
              </a:ext>
            </a:extLst>
          </p:cNvPr>
          <p:cNvSpPr/>
          <p:nvPr/>
        </p:nvSpPr>
        <p:spPr>
          <a:xfrm>
            <a:off x="1127344" y="5344787"/>
            <a:ext cx="2099949" cy="2635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>
                <a:solidFill>
                  <a:schemeClr val="tx1"/>
                </a:solidFill>
              </a:rPr>
              <a:t>Prioritized for deep-dive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93615846-EB9E-B933-2291-A950185C00EF}"/>
              </a:ext>
            </a:extLst>
          </p:cNvPr>
          <p:cNvSpPr/>
          <p:nvPr/>
        </p:nvSpPr>
        <p:spPr>
          <a:xfrm>
            <a:off x="609598" y="5388697"/>
            <a:ext cx="400426" cy="175705"/>
          </a:xfrm>
          <a:prstGeom prst="rect">
            <a:avLst/>
          </a:prstGeom>
          <a:solidFill>
            <a:srgbClr val="002352">
              <a:alpha val="25882"/>
            </a:srgb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3501853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3E1DAA-AF24-A8B4-EDB6-0E8F391E3B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C3177F-035B-92BF-6298-27F1507014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verview of Analogues (Oncology)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5A1A0AF2-BFF2-6D4A-36A4-D42BB9BBF6ED}"/>
              </a:ext>
            </a:extLst>
          </p:cNvPr>
          <p:cNvGraphicFramePr>
            <a:graphicFrameLocks noGrp="1"/>
          </p:cNvGraphicFramePr>
          <p:nvPr/>
        </p:nvGraphicFramePr>
        <p:xfrm>
          <a:off x="613407" y="1350088"/>
          <a:ext cx="11237009" cy="3800195"/>
        </p:xfrm>
        <a:graphic>
          <a:graphicData uri="http://schemas.openxmlformats.org/drawingml/2006/table">
            <a:tbl>
              <a:tblPr bandRow="1">
                <a:tableStyleId>{EB344D84-9AFB-497E-A393-DC336BA19D2E}</a:tableStyleId>
              </a:tblPr>
              <a:tblGrid>
                <a:gridCol w="2117895">
                  <a:extLst>
                    <a:ext uri="{9D8B030D-6E8A-4147-A177-3AD203B41FA5}">
                      <a16:colId xmlns:a16="http://schemas.microsoft.com/office/drawing/2014/main" val="3928929477"/>
                    </a:ext>
                  </a:extLst>
                </a:gridCol>
                <a:gridCol w="1929316">
                  <a:extLst>
                    <a:ext uri="{9D8B030D-6E8A-4147-A177-3AD203B41FA5}">
                      <a16:colId xmlns:a16="http://schemas.microsoft.com/office/drawing/2014/main" val="639185829"/>
                    </a:ext>
                  </a:extLst>
                </a:gridCol>
                <a:gridCol w="626085">
                  <a:extLst>
                    <a:ext uri="{9D8B030D-6E8A-4147-A177-3AD203B41FA5}">
                      <a16:colId xmlns:a16="http://schemas.microsoft.com/office/drawing/2014/main" val="3842080131"/>
                    </a:ext>
                  </a:extLst>
                </a:gridCol>
                <a:gridCol w="829551">
                  <a:extLst>
                    <a:ext uri="{9D8B030D-6E8A-4147-A177-3AD203B41FA5}">
                      <a16:colId xmlns:a16="http://schemas.microsoft.com/office/drawing/2014/main" val="1642588372"/>
                    </a:ext>
                  </a:extLst>
                </a:gridCol>
                <a:gridCol w="819166">
                  <a:extLst>
                    <a:ext uri="{9D8B030D-6E8A-4147-A177-3AD203B41FA5}">
                      <a16:colId xmlns:a16="http://schemas.microsoft.com/office/drawing/2014/main" val="649793057"/>
                    </a:ext>
                  </a:extLst>
                </a:gridCol>
                <a:gridCol w="819166">
                  <a:extLst>
                    <a:ext uri="{9D8B030D-6E8A-4147-A177-3AD203B41FA5}">
                      <a16:colId xmlns:a16="http://schemas.microsoft.com/office/drawing/2014/main" val="4090713701"/>
                    </a:ext>
                  </a:extLst>
                </a:gridCol>
                <a:gridCol w="819166">
                  <a:extLst>
                    <a:ext uri="{9D8B030D-6E8A-4147-A177-3AD203B41FA5}">
                      <a16:colId xmlns:a16="http://schemas.microsoft.com/office/drawing/2014/main" val="2506157745"/>
                    </a:ext>
                  </a:extLst>
                </a:gridCol>
                <a:gridCol w="819166">
                  <a:extLst>
                    <a:ext uri="{9D8B030D-6E8A-4147-A177-3AD203B41FA5}">
                      <a16:colId xmlns:a16="http://schemas.microsoft.com/office/drawing/2014/main" val="734136514"/>
                    </a:ext>
                  </a:extLst>
                </a:gridCol>
                <a:gridCol w="819166">
                  <a:extLst>
                    <a:ext uri="{9D8B030D-6E8A-4147-A177-3AD203B41FA5}">
                      <a16:colId xmlns:a16="http://schemas.microsoft.com/office/drawing/2014/main" val="3361247116"/>
                    </a:ext>
                  </a:extLst>
                </a:gridCol>
                <a:gridCol w="819166">
                  <a:extLst>
                    <a:ext uri="{9D8B030D-6E8A-4147-A177-3AD203B41FA5}">
                      <a16:colId xmlns:a16="http://schemas.microsoft.com/office/drawing/2014/main" val="3934768738"/>
                    </a:ext>
                  </a:extLst>
                </a:gridCol>
                <a:gridCol w="819166">
                  <a:extLst>
                    <a:ext uri="{9D8B030D-6E8A-4147-A177-3AD203B41FA5}">
                      <a16:colId xmlns:a16="http://schemas.microsoft.com/office/drawing/2014/main" val="412156773"/>
                    </a:ext>
                  </a:extLst>
                </a:gridCol>
              </a:tblGrid>
              <a:tr h="185102">
                <a:tc rowSpan="2">
                  <a:txBody>
                    <a:bodyPr/>
                    <a:lstStyle/>
                    <a:p>
                      <a:pPr algn="l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</a:rPr>
                        <a:t>Analogues</a:t>
                      </a: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</a:rPr>
                        <a:t>Indication</a:t>
                      </a:r>
                    </a:p>
                  </a:txBody>
                  <a:tcPr marL="45720" marR="45720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</a:rPr>
                        <a:t>Annual WAC</a:t>
                      </a: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</a:rPr>
                        <a:t>US prevalence</a:t>
                      </a: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ctr"/>
                      <a:r>
                        <a:rPr lang="en-US" sz="1100" b="1">
                          <a:solidFill>
                            <a:schemeClr val="bg1"/>
                          </a:solidFill>
                          <a:latin typeface="+mj-lt"/>
                        </a:rPr>
                        <a:t>Criteria for analogue selection</a:t>
                      </a: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A9A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45720" marR="45720" marT="18288" marB="18288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5282015"/>
                  </a:ext>
                </a:extLst>
              </a:tr>
              <a:tr h="64094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>
                      <a:noFill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>
                      <a:noFill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>
                      <a:noFill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bg1"/>
                          </a:solidFill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dult population only</a:t>
                      </a:r>
                      <a:endParaRPr lang="en-US" sz="1100" b="0">
                        <a:solidFill>
                          <a:schemeClr val="dk1"/>
                        </a:solidFill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bg1"/>
                          </a:solidFill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revalence 20-80k</a:t>
                      </a:r>
                      <a:endParaRPr lang="en-US" sz="1100" b="0">
                        <a:solidFill>
                          <a:schemeClr val="dk1"/>
                        </a:solidFill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</a:rPr>
                        <a:t>Median survival</a:t>
                      </a:r>
                      <a:br>
                        <a:rPr lang="en-US" sz="1100" b="0">
                          <a:solidFill>
                            <a:schemeClr val="bg1"/>
                          </a:solidFill>
                          <a:latin typeface="+mj-lt"/>
                        </a:rPr>
                      </a:br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</a:rPr>
                        <a:t> 2-5 years</a:t>
                      </a:r>
                      <a:r>
                        <a:rPr lang="en-US" sz="1100" b="0" baseline="30000">
                          <a:solidFill>
                            <a:schemeClr val="bg1"/>
                          </a:solidFill>
                          <a:latin typeface="+mj-lt"/>
                        </a:rPr>
                        <a:t>1</a:t>
                      </a:r>
                      <a:endParaRPr lang="en-US" sz="1100" b="0" baseline="30000">
                        <a:latin typeface="+mj-lt"/>
                      </a:endParaRP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</a:rPr>
                        <a:t>Pharmacy benefit </a:t>
                      </a: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</a:rPr>
                        <a:t>Disease modifying</a:t>
                      </a:r>
                      <a:endParaRPr lang="en-US" sz="1100" b="0">
                        <a:latin typeface="+mj-lt"/>
                      </a:endParaRP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>
                          <a:solidFill>
                            <a:schemeClr val="bg1"/>
                          </a:solidFill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hronic</a:t>
                      </a:r>
                      <a:br>
                        <a:rPr lang="en-US" sz="1100" b="0">
                          <a:solidFill>
                            <a:schemeClr val="bg1"/>
                          </a:solidFill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100" b="0">
                          <a:solidFill>
                            <a:schemeClr val="bg1"/>
                          </a:solidFill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&gt;1 yr treatment)</a:t>
                      </a:r>
                      <a:endParaRPr lang="en-US" sz="1100" b="0">
                        <a:solidFill>
                          <a:schemeClr val="dk1"/>
                        </a:solidFill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</a:rPr>
                        <a:t># of criteria met</a:t>
                      </a: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A9A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3291600"/>
                  </a:ext>
                </a:extLst>
              </a:tr>
              <a:tr h="2955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nqovi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(decitabine /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edazuridine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DS / CMML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$113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0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✔</a:t>
                      </a: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6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9611647"/>
                  </a:ext>
                </a:extLst>
              </a:tr>
              <a:tr h="2955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ruzaqla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ruquintinib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olorectal cancer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$343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5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5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02545201"/>
                  </a:ext>
                </a:extLst>
              </a:tr>
              <a:tr h="2955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Orserdu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lacestrant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reast cancer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$297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5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2672239"/>
                  </a:ext>
                </a:extLst>
              </a:tr>
              <a:tr h="2955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btrozi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taletrectinib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on‑small cell lung cancer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$354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5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77577126"/>
                  </a:ext>
                </a:extLst>
              </a:tr>
              <a:tr h="2955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Augtyro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repotrectinib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on-small cell lung cancer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$367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5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09746849"/>
                  </a:ext>
                </a:extLst>
              </a:tr>
              <a:tr h="2955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lrexfio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lranatamab-bcmm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ultiple myeloma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$580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6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05113072"/>
                  </a:ext>
                </a:extLst>
              </a:tr>
              <a:tr h="2955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alvey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alquetamab-tgvs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ultiple myeloma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$440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6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66332665"/>
                  </a:ext>
                </a:extLst>
              </a:tr>
              <a:tr h="2955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Gomekli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irdametinib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eurofibromatosis type 1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$360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7294390"/>
                  </a:ext>
                </a:extLst>
              </a:tr>
              <a:tr h="2955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Krazati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adagrasib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on-small cell lung cancer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$271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4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41187918"/>
                  </a:ext>
                </a:extLst>
              </a:tr>
              <a:tr h="2955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Jaypirca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irtobrutinib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Mantle cell lymphoma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$277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2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5914790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E170EA02-10C3-38D9-3B30-296C5FFAF4D6}"/>
              </a:ext>
            </a:extLst>
          </p:cNvPr>
          <p:cNvSpPr/>
          <p:nvPr/>
        </p:nvSpPr>
        <p:spPr>
          <a:xfrm>
            <a:off x="607561" y="2204945"/>
            <a:ext cx="11248108" cy="885096"/>
          </a:xfrm>
          <a:prstGeom prst="rect">
            <a:avLst/>
          </a:prstGeom>
          <a:solidFill>
            <a:srgbClr val="002352">
              <a:alpha val="25882"/>
            </a:srgb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364CE776-E82E-B7D0-775E-8C7B8B8D9C76}"/>
              </a:ext>
            </a:extLst>
          </p:cNvPr>
          <p:cNvSpPr txBox="1">
            <a:spLocks/>
          </p:cNvSpPr>
          <p:nvPr/>
        </p:nvSpPr>
        <p:spPr>
          <a:xfrm>
            <a:off x="609596" y="826878"/>
            <a:ext cx="10972801" cy="3498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marR="0" lvl="0" indent="0" algn="l" defTabSz="1219261" rtl="0" eaLnBrk="1" fontAlgn="auto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lang="en-US" sz="1400" b="1" i="1" u="none" strike="noStrike" kern="1200" cap="none" spc="0" baseline="0">
                <a:solidFill>
                  <a:schemeClr val="tx2"/>
                </a:solidFill>
                <a:uFillTx/>
                <a:latin typeface="+mn-lt"/>
              </a:defRPr>
            </a:lvl1pPr>
            <a:lvl2pPr marL="457200" marR="0" lvl="1" indent="-182880" algn="l" defTabSz="1219261" rtl="0" eaLnBrk="1" fontAlgn="auto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400" b="0" i="0" u="none" strike="noStrike" kern="1200" cap="none" spc="0" baseline="0">
                <a:solidFill>
                  <a:schemeClr val="tx1"/>
                </a:solidFill>
                <a:uFillTx/>
                <a:latin typeface="+mn-lt"/>
              </a:defRPr>
            </a:lvl2pPr>
            <a:lvl3pPr marL="731520" marR="0" lvl="2" indent="-182880" algn="l" defTabSz="1219261" rtl="0" eaLnBrk="1" fontAlgn="auto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2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3pPr>
            <a:lvl4pPr marL="1005840" marR="0" lvl="3" indent="-182880" algn="l" defTabSz="1219261" rtl="0" eaLnBrk="1" fontAlgn="auto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1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4pPr>
            <a:lvl5pPr marL="1280160" marR="0" lvl="4" indent="-182880" algn="l" defTabSz="1219261" rtl="0" eaLnBrk="1" fontAlgn="auto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0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5pPr>
            <a:lvl8pPr marL="381019" indent="-152408" eaLnBrk="1" hangingPunct="1">
              <a:buFont typeface="Courier New" panose="02070309020205020404" pitchFamily="49" charset="0"/>
              <a:buChar char="­"/>
              <a:defRPr lang="en-US" sz="1600" b="0" i="0" u="none" strike="noStrike" kern="1200" cap="none" spc="0" baseline="0" dirty="0">
                <a:solidFill>
                  <a:schemeClr val="tx1"/>
                </a:solidFill>
                <a:uFillTx/>
                <a:latin typeface="+mn-lt"/>
              </a:defRPr>
            </a:lvl8pPr>
          </a:lstStyle>
          <a:p>
            <a:r>
              <a:rPr lang="en-US"/>
              <a:t>All analogues were launched in or after 2023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0824D3B-5887-4D0A-FEFF-72DB849FEFF6}"/>
              </a:ext>
            </a:extLst>
          </p:cNvPr>
          <p:cNvSpPr/>
          <p:nvPr/>
        </p:nvSpPr>
        <p:spPr>
          <a:xfrm>
            <a:off x="526568" y="5897041"/>
            <a:ext cx="11067261" cy="2635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>
                <a:solidFill>
                  <a:schemeClr val="tx1"/>
                </a:solidFill>
              </a:rPr>
              <a:t>1. </a:t>
            </a:r>
            <a:r>
              <a:rPr lang="en-US" sz="800" b="1" err="1">
                <a:solidFill>
                  <a:schemeClr val="tx1"/>
                </a:solidFill>
              </a:rPr>
              <a:t>Fruzaqla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Median OS = 4.8 months for comparator arm of </a:t>
            </a:r>
            <a:r>
              <a:rPr lang="en-US" sz="800" err="1">
                <a:solidFill>
                  <a:schemeClr val="tx1"/>
                </a:solidFill>
              </a:rPr>
              <a:t>Fruzaqla’s</a:t>
            </a:r>
            <a:r>
              <a:rPr lang="en-US" sz="800">
                <a:solidFill>
                  <a:schemeClr val="tx1"/>
                </a:solidFill>
              </a:rPr>
              <a:t> Phase 3 trial. </a:t>
            </a:r>
            <a:r>
              <a:rPr lang="en-US" sz="800" b="1" err="1">
                <a:solidFill>
                  <a:schemeClr val="tx1"/>
                </a:solidFill>
              </a:rPr>
              <a:t>Orserdu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Median OS = 15 months for comparator arm of </a:t>
            </a:r>
            <a:r>
              <a:rPr lang="en-US" sz="800" err="1">
                <a:solidFill>
                  <a:schemeClr val="tx1"/>
                </a:solidFill>
              </a:rPr>
              <a:t>Orserdu’s</a:t>
            </a:r>
            <a:r>
              <a:rPr lang="en-US" sz="800">
                <a:solidFill>
                  <a:schemeClr val="tx1"/>
                </a:solidFill>
              </a:rPr>
              <a:t> Phase 3 trial. </a:t>
            </a:r>
            <a:r>
              <a:rPr lang="en-US" sz="800" b="1" err="1">
                <a:solidFill>
                  <a:schemeClr val="tx1"/>
                </a:solidFill>
              </a:rPr>
              <a:t>Ibtrozi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Median OS = 4.4 years for crizotinib. Source: Topal et al., Medicina Kaunas, 2025. </a:t>
            </a:r>
            <a:r>
              <a:rPr lang="en-US" sz="800" b="1" err="1">
                <a:solidFill>
                  <a:schemeClr val="tx1"/>
                </a:solidFill>
              </a:rPr>
              <a:t>Augtyro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Between 2 and 4.4 years, depending on patient population. Source: Topal et al., Medicina Kaunas, 2025, Zhong et al., Journal of Comparative Effectiveness Research, 2024. </a:t>
            </a:r>
            <a:r>
              <a:rPr lang="en-US" sz="800" b="1" err="1">
                <a:solidFill>
                  <a:schemeClr val="tx1"/>
                </a:solidFill>
              </a:rPr>
              <a:t>Inqovi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Median OS 24 months. Source: AZA-001 trial for azacitidine. </a:t>
            </a:r>
            <a:r>
              <a:rPr lang="en-US" sz="800" b="1" err="1">
                <a:solidFill>
                  <a:schemeClr val="tx1"/>
                </a:solidFill>
              </a:rPr>
              <a:t>Elrexfio</a:t>
            </a:r>
            <a:r>
              <a:rPr lang="en-US" sz="800" b="1">
                <a:solidFill>
                  <a:schemeClr val="tx1"/>
                </a:solidFill>
              </a:rPr>
              <a:t>, </a:t>
            </a:r>
            <a:r>
              <a:rPr lang="en-US" sz="800" b="1" err="1">
                <a:solidFill>
                  <a:schemeClr val="tx1"/>
                </a:solidFill>
              </a:rPr>
              <a:t>Talvey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Median OS = 13.8 months (</a:t>
            </a:r>
            <a:r>
              <a:rPr lang="en-US" sz="800" err="1">
                <a:solidFill>
                  <a:schemeClr val="tx1"/>
                </a:solidFill>
              </a:rPr>
              <a:t>LocoMMotion</a:t>
            </a:r>
            <a:r>
              <a:rPr lang="en-US" sz="800">
                <a:solidFill>
                  <a:schemeClr val="tx1"/>
                </a:solidFill>
              </a:rPr>
              <a:t> trial). </a:t>
            </a:r>
            <a:r>
              <a:rPr lang="en-US" sz="800" b="1" err="1">
                <a:solidFill>
                  <a:schemeClr val="tx1"/>
                </a:solidFill>
              </a:rPr>
              <a:t>Gomekli</a:t>
            </a:r>
            <a:r>
              <a:rPr lang="en-US" sz="800" b="1">
                <a:solidFill>
                  <a:schemeClr val="tx1"/>
                </a:solidFill>
              </a:rPr>
              <a:t>:  </a:t>
            </a:r>
            <a:r>
              <a:rPr lang="en-US" sz="800">
                <a:solidFill>
                  <a:schemeClr val="tx1"/>
                </a:solidFill>
              </a:rPr>
              <a:t>Median survival &gt; 5 years. Source: Evans et. al., European Journal of Juman Genetics, 2011. </a:t>
            </a:r>
            <a:r>
              <a:rPr lang="en-US" sz="800" err="1">
                <a:solidFill>
                  <a:schemeClr val="tx1"/>
                </a:solidFill>
              </a:rPr>
              <a:t>Krazati</a:t>
            </a:r>
            <a:r>
              <a:rPr lang="en-US" sz="800">
                <a:solidFill>
                  <a:schemeClr val="tx1"/>
                </a:solidFill>
              </a:rPr>
              <a:t>: Median OS = 11.3 months (</a:t>
            </a:r>
            <a:r>
              <a:rPr lang="en-US" sz="800" err="1">
                <a:solidFill>
                  <a:schemeClr val="tx1"/>
                </a:solidFill>
              </a:rPr>
              <a:t>CodeBreaK</a:t>
            </a:r>
            <a:r>
              <a:rPr lang="en-US" sz="800">
                <a:solidFill>
                  <a:schemeClr val="tx1"/>
                </a:solidFill>
              </a:rPr>
              <a:t> 200 trial). </a:t>
            </a:r>
            <a:r>
              <a:rPr lang="en-US" sz="800" b="1" err="1">
                <a:solidFill>
                  <a:schemeClr val="tx1"/>
                </a:solidFill>
              </a:rPr>
              <a:t>Jaypirca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Median OS between 6 and 10 months (source: Burkart et. Al., J Pers Med, 2022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AB7E349-4FD3-D89C-1F4C-0322891E44F6}"/>
              </a:ext>
            </a:extLst>
          </p:cNvPr>
          <p:cNvSpPr/>
          <p:nvPr/>
        </p:nvSpPr>
        <p:spPr>
          <a:xfrm>
            <a:off x="1127344" y="5344787"/>
            <a:ext cx="2099949" cy="2635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>
                <a:solidFill>
                  <a:schemeClr val="tx1"/>
                </a:solidFill>
              </a:rPr>
              <a:t>Prioritized for deep-div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1EA2A40-C54C-208E-3090-CB33DD0878B1}"/>
              </a:ext>
            </a:extLst>
          </p:cNvPr>
          <p:cNvSpPr/>
          <p:nvPr/>
        </p:nvSpPr>
        <p:spPr>
          <a:xfrm>
            <a:off x="609598" y="5388697"/>
            <a:ext cx="400426" cy="175705"/>
          </a:xfrm>
          <a:prstGeom prst="rect">
            <a:avLst/>
          </a:prstGeom>
          <a:solidFill>
            <a:srgbClr val="002352">
              <a:alpha val="25882"/>
            </a:srgb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3579604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5739EE-7694-0BCE-4025-8878280E19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U.S. Disease Prevalence vs Annualized 2024 WAC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6FEE01D-DA25-0173-F7AB-0AE04D53A7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We observed a correlation between price and prevalence, particularly in non-oncology analogues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B2AC301-4558-4152-5D46-5CE107B1A664}"/>
              </a:ext>
            </a:extLst>
          </p:cNvPr>
          <p:cNvSpPr txBox="1"/>
          <p:nvPr/>
        </p:nvSpPr>
        <p:spPr>
          <a:xfrm>
            <a:off x="511628" y="6137395"/>
            <a:ext cx="11168744" cy="349890"/>
          </a:xfrm>
          <a:prstGeom prst="rect">
            <a:avLst/>
          </a:prstGeom>
          <a:noFill/>
          <a:ln>
            <a:noFill/>
          </a:ln>
        </p:spPr>
        <p:txBody>
          <a:bodyPr wrap="square" tIns="91440" bIns="91440" anchor="ctr">
            <a:noAutofit/>
          </a:bodyPr>
          <a:lstStyle/>
          <a:p>
            <a:r>
              <a:rPr lang="en-US" sz="1200" b="1" i="1" u="sng">
                <a:solidFill>
                  <a:schemeClr val="tx2"/>
                </a:solidFill>
              </a:rPr>
              <a:t>Note</a:t>
            </a:r>
            <a:r>
              <a:rPr lang="en-US" sz="1200" b="1" i="1">
                <a:solidFill>
                  <a:schemeClr val="tx2"/>
                </a:solidFill>
              </a:rPr>
              <a:t>: Price and prevalence are only two dimensions that do not account for other factors such as competition, unmet need, the product profile, etc. 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9CA3E129-BE4F-CA4E-F39D-506D93B392D7}"/>
              </a:ext>
            </a:extLst>
          </p:cNvPr>
          <p:cNvGraphicFramePr/>
          <p:nvPr/>
        </p:nvGraphicFramePr>
        <p:xfrm>
          <a:off x="6699624" y="1476190"/>
          <a:ext cx="5145741" cy="43633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14E206FB-940F-8A54-47F0-4790E6D10DF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3018183"/>
              </p:ext>
            </p:extLst>
          </p:nvPr>
        </p:nvGraphicFramePr>
        <p:xfrm>
          <a:off x="1039904" y="1392519"/>
          <a:ext cx="4563035" cy="44679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1F1CE8D6-F5A2-1FAE-01EF-43F42C9619EC}"/>
              </a:ext>
            </a:extLst>
          </p:cNvPr>
          <p:cNvSpPr txBox="1"/>
          <p:nvPr/>
        </p:nvSpPr>
        <p:spPr>
          <a:xfrm>
            <a:off x="600172" y="1326776"/>
            <a:ext cx="3314416" cy="268942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r>
              <a:rPr lang="en-US" sz="1400" b="1" kern="0">
                <a:solidFill>
                  <a:schemeClr val="tx2"/>
                </a:solidFill>
              </a:rPr>
              <a:t>Non-oncology analogu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15811E6-D279-5481-0F75-85C6E4FE868A}"/>
              </a:ext>
            </a:extLst>
          </p:cNvPr>
          <p:cNvSpPr txBox="1"/>
          <p:nvPr/>
        </p:nvSpPr>
        <p:spPr>
          <a:xfrm>
            <a:off x="2636056" y="5821082"/>
            <a:ext cx="1630712" cy="26296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algn="ctr"/>
            <a:r>
              <a:rPr lang="en-US" sz="1200" kern="0"/>
              <a:t>US prevalenc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158622D-9C12-D8F0-6606-44DA24828CE8}"/>
              </a:ext>
            </a:extLst>
          </p:cNvPr>
          <p:cNvSpPr txBox="1"/>
          <p:nvPr/>
        </p:nvSpPr>
        <p:spPr>
          <a:xfrm>
            <a:off x="8451162" y="5821082"/>
            <a:ext cx="1630712" cy="26296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algn="ctr"/>
            <a:r>
              <a:rPr lang="en-US" sz="1200" kern="0"/>
              <a:t>US prevalenc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4A6A79B-0964-C5A5-506E-FE89D555D7F2}"/>
              </a:ext>
            </a:extLst>
          </p:cNvPr>
          <p:cNvSpPr txBox="1"/>
          <p:nvPr/>
        </p:nvSpPr>
        <p:spPr>
          <a:xfrm>
            <a:off x="6331607" y="1326776"/>
            <a:ext cx="3314416" cy="268942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r>
              <a:rPr lang="en-US" sz="1400" b="1" kern="0">
                <a:solidFill>
                  <a:schemeClr val="tx2"/>
                </a:solidFill>
              </a:rPr>
              <a:t>Oncology analogue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D3CB758-F237-7D01-DA67-F6D316E3C46F}"/>
              </a:ext>
            </a:extLst>
          </p:cNvPr>
          <p:cNvSpPr txBox="1"/>
          <p:nvPr/>
        </p:nvSpPr>
        <p:spPr>
          <a:xfrm rot="16200000">
            <a:off x="-83237" y="3538070"/>
            <a:ext cx="1630712" cy="26296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algn="ctr"/>
            <a:r>
              <a:rPr lang="en-US" sz="1200" kern="0"/>
              <a:t>Annual WAC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723F4B5-AD5C-9A74-1810-BB1D4EE8D3B9}"/>
              </a:ext>
            </a:extLst>
          </p:cNvPr>
          <p:cNvSpPr txBox="1"/>
          <p:nvPr/>
        </p:nvSpPr>
        <p:spPr>
          <a:xfrm rot="16200000">
            <a:off x="5654176" y="3538071"/>
            <a:ext cx="1630712" cy="26296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algn="ctr"/>
            <a:r>
              <a:rPr lang="en-US" sz="1200" kern="0"/>
              <a:t>Annual WAC</a:t>
            </a:r>
          </a:p>
        </p:txBody>
      </p:sp>
    </p:spTree>
    <p:extLst>
      <p:ext uri="{BB962C8B-B14F-4D97-AF65-F5344CB8AC3E}">
        <p14:creationId xmlns:p14="http://schemas.microsoft.com/office/powerpoint/2010/main" val="412890291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VERSANA Template 1Q25">
  <a:themeElements>
    <a:clrScheme name="Custom 32">
      <a:dk1>
        <a:srgbClr val="3F4344"/>
      </a:dk1>
      <a:lt1>
        <a:srgbClr val="FFFFFF"/>
      </a:lt1>
      <a:dk2>
        <a:srgbClr val="002F6C"/>
      </a:dk2>
      <a:lt2>
        <a:srgbClr val="DBDCDD"/>
      </a:lt2>
      <a:accent1>
        <a:srgbClr val="002352"/>
      </a:accent1>
      <a:accent2>
        <a:srgbClr val="8B024D"/>
      </a:accent2>
      <a:accent3>
        <a:srgbClr val="007398"/>
      </a:accent3>
      <a:accent4>
        <a:srgbClr val="7FA9AE"/>
      </a:accent4>
      <a:accent5>
        <a:srgbClr val="ED8B00"/>
      </a:accent5>
      <a:accent6>
        <a:srgbClr val="000000"/>
      </a:accent6>
      <a:hlink>
        <a:srgbClr val="007397"/>
      </a:hlink>
      <a:folHlink>
        <a:srgbClr val="7EA9AD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bg2"/>
          </a:solidFill>
          <a:round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vert="horz" wrap="square" lIns="91440" tIns="45720" rIns="91440" bIns="45720" rtlCol="0" anchor="t" anchorCtr="0" compatLnSpc="1">
        <a:noAutofit/>
      </a:bodyPr>
      <a:lstStyle>
        <a:defPPr algn="l">
          <a:defRPr sz="1600" kern="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FA7E4360-A718-9B4C-88AE-B92F7D9D82E6}" vid="{EE118C26-551E-B84B-B84A-448E4713D92E}"/>
    </a:ext>
  </a:extLst>
</a:theme>
</file>

<file path=ppt/theme/theme2.xml><?xml version="1.0" encoding="utf-8"?>
<a:theme xmlns:a="http://schemas.openxmlformats.org/drawingml/2006/main" name="1_EVERSANA Template 1Q25">
  <a:themeElements>
    <a:clrScheme name="Custom 32">
      <a:dk1>
        <a:srgbClr val="3F4344"/>
      </a:dk1>
      <a:lt1>
        <a:srgbClr val="FFFFFF"/>
      </a:lt1>
      <a:dk2>
        <a:srgbClr val="002F6C"/>
      </a:dk2>
      <a:lt2>
        <a:srgbClr val="DBDCDD"/>
      </a:lt2>
      <a:accent1>
        <a:srgbClr val="002352"/>
      </a:accent1>
      <a:accent2>
        <a:srgbClr val="8B024D"/>
      </a:accent2>
      <a:accent3>
        <a:srgbClr val="007398"/>
      </a:accent3>
      <a:accent4>
        <a:srgbClr val="7FA9AE"/>
      </a:accent4>
      <a:accent5>
        <a:srgbClr val="ED8B00"/>
      </a:accent5>
      <a:accent6>
        <a:srgbClr val="000000"/>
      </a:accent6>
      <a:hlink>
        <a:srgbClr val="007397"/>
      </a:hlink>
      <a:folHlink>
        <a:srgbClr val="7EA9AD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bg2"/>
          </a:solidFill>
          <a:round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vert="horz" wrap="square" lIns="91440" tIns="45720" rIns="91440" bIns="45720" rtlCol="0" anchor="t" anchorCtr="0" compatLnSpc="1">
        <a:noAutofit/>
      </a:bodyPr>
      <a:lstStyle>
        <a:defPPr algn="l">
          <a:defRPr sz="1600" kern="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EVERSANA-sm" id="{987E1816-01C4-6E4E-BA14-F6D272A95F24}" vid="{CFADC8FB-9313-EB44-87B1-AEE3CE90C4BA}"/>
    </a:ext>
  </a:extLst>
</a:theme>
</file>

<file path=ppt/theme/theme3.xml><?xml version="1.0" encoding="utf-8"?>
<a:theme xmlns:a="http://schemas.openxmlformats.org/drawingml/2006/main" name="2_EVERSANA Template 1Q25">
  <a:themeElements>
    <a:clrScheme name="Custom 32">
      <a:dk1>
        <a:srgbClr val="3F4344"/>
      </a:dk1>
      <a:lt1>
        <a:srgbClr val="FFFFFF"/>
      </a:lt1>
      <a:dk2>
        <a:srgbClr val="002F6C"/>
      </a:dk2>
      <a:lt2>
        <a:srgbClr val="DBDCDD"/>
      </a:lt2>
      <a:accent1>
        <a:srgbClr val="002352"/>
      </a:accent1>
      <a:accent2>
        <a:srgbClr val="8B024D"/>
      </a:accent2>
      <a:accent3>
        <a:srgbClr val="007398"/>
      </a:accent3>
      <a:accent4>
        <a:srgbClr val="7FA9AE"/>
      </a:accent4>
      <a:accent5>
        <a:srgbClr val="ED8B00"/>
      </a:accent5>
      <a:accent6>
        <a:srgbClr val="000000"/>
      </a:accent6>
      <a:hlink>
        <a:srgbClr val="007397"/>
      </a:hlink>
      <a:folHlink>
        <a:srgbClr val="7EA9AD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bg2"/>
          </a:solidFill>
          <a:round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vert="horz" wrap="square" lIns="91440" tIns="45720" rIns="91440" bIns="45720" rtlCol="0" anchor="t" anchorCtr="0" compatLnSpc="1">
        <a:noAutofit/>
      </a:bodyPr>
      <a:lstStyle>
        <a:defPPr algn="l">
          <a:defRPr sz="1600" kern="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EVERSANA-sm" id="{987E1816-01C4-6E4E-BA14-F6D272A95F24}" vid="{CFADC8FB-9313-EB44-87B1-AEE3CE90C4B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item1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roduct_x0020_Type xmlns="e5d7288e-fd47-4b8f-bda7-84d5b168c232" xsi:nil="true"/>
    <LikesCount xmlns="http://schemas.microsoft.com/sharepoint/v3" xsi:nil="true"/>
    <lcf76f155ced4ddcb4097134ff3c332f xmlns="e5d7288e-fd47-4b8f-bda7-84d5b168c232">
      <Terms xmlns="http://schemas.microsoft.com/office/infopath/2007/PartnerControls"/>
    </lcf76f155ced4ddcb4097134ff3c332f>
    <Year xmlns="e5d7288e-fd47-4b8f-bda7-84d5b168c232" xsi:nil="true"/>
    <Owner xmlns="e5d7288e-fd47-4b8f-bda7-84d5b168c232">
      <UserInfo>
        <DisplayName/>
        <AccountId xsi:nil="true"/>
        <AccountType/>
      </UserInfo>
    </Owner>
    <Key_x0020_Element xmlns="e5d7288e-fd47-4b8f-bda7-84d5b168c232" xsi:nil="true"/>
    <Ratings xmlns="http://schemas.microsoft.com/sharepoint/v3" xsi:nil="true"/>
    <LikedBy xmlns="http://schemas.microsoft.com/sharepoint/v3">
      <UserInfo>
        <DisplayName/>
        <AccountId xsi:nil="true"/>
        <AccountType/>
      </UserInfo>
    </LikedBy>
    <TaxCatchAll xmlns="c40748d8-3082-4089-99b4-09272b415e1f" xsi:nil="true"/>
    <Project_x0020_Type xmlns="e5d7288e-fd47-4b8f-bda7-84d5b168c232" xsi:nil="true"/>
    <Therapeutic_x0020_Area xmlns="e5d7288e-fd47-4b8f-bda7-84d5b168c232" xsi:nil="true"/>
    <ContentType0 xmlns="e5d7288e-fd47-4b8f-bda7-84d5b168c232" xsi:nil="true"/>
    <RatedBy xmlns="http://schemas.microsoft.com/sharepoint/v3">
      <UserInfo>
        <DisplayName/>
        <AccountId xsi:nil="true"/>
        <AccountType/>
      </UserInfo>
    </RatedBy>
  </documentManagement>
</p:properties>
</file>

<file path=customXml/item3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1838234E92C044C95FB2BB4708D77A8" ma:contentTypeVersion="37" ma:contentTypeDescription="Create a new document." ma:contentTypeScope="" ma:versionID="6c305a417a7e56e0ef39f9e13041dc23">
  <xsd:schema xmlns:xsd="http://www.w3.org/2001/XMLSchema" xmlns:xs="http://www.w3.org/2001/XMLSchema" xmlns:p="http://schemas.microsoft.com/office/2006/metadata/properties" xmlns:ns1="http://schemas.microsoft.com/sharepoint/v3" xmlns:ns2="e5d7288e-fd47-4b8f-bda7-84d5b168c232" xmlns:ns3="c40748d8-3082-4089-99b4-09272b415e1f" targetNamespace="http://schemas.microsoft.com/office/2006/metadata/properties" ma:root="true" ma:fieldsID="0205e5e03b8e319a938861a76b0fd805" ns1:_="" ns2:_="" ns3:_="">
    <xsd:import namespace="http://schemas.microsoft.com/sharepoint/v3"/>
    <xsd:import namespace="e5d7288e-fd47-4b8f-bda7-84d5b168c232"/>
    <xsd:import namespace="c40748d8-3082-4089-99b4-09272b415e1f"/>
    <xsd:element name="properties">
      <xsd:complexType>
        <xsd:sequence>
          <xsd:element name="documentManagement">
            <xsd:complexType>
              <xsd:all>
                <xsd:element ref="ns2:Project_x0020_Type" minOccurs="0"/>
                <xsd:element ref="ns2:Therapeutic_x0020_Area" minOccurs="0"/>
                <xsd:element ref="ns2:Product_x0020_Type" minOccurs="0"/>
                <xsd:element ref="ns2:ContentType0" minOccurs="0"/>
                <xsd:element ref="ns2:Owner" minOccurs="0"/>
                <xsd:element ref="ns2:Year" minOccurs="0"/>
                <xsd:element ref="ns1:AverageRating" minOccurs="0"/>
                <xsd:element ref="ns1:RatingCount" minOccurs="0"/>
                <xsd:element ref="ns1:LikesCount" minOccurs="0"/>
                <xsd:element ref="ns3:SharedWithUsers" minOccurs="0"/>
                <xsd:element ref="ns3:SharedWithDetails" minOccurs="0"/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1:RatedBy" minOccurs="0"/>
                <xsd:element ref="ns1:Ratings" minOccurs="0"/>
                <xsd:element ref="ns1:LikedBy" minOccurs="0"/>
                <xsd:element ref="ns2:MediaLengthInSeconds" minOccurs="0"/>
                <xsd:element ref="ns2:MediaServiceLocation" minOccurs="0"/>
                <xsd:element ref="ns2:Key_x0020_Element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AverageRating" ma:index="8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9" nillable="true" ma:displayName="Number of Ratings" ma:decimals="0" ma:description="Number of ratings submitted" ma:internalName="RatingCount" ma:readOnly="true">
      <xsd:simpleType>
        <xsd:restriction base="dms:Number"/>
      </xsd:simpleType>
    </xsd:element>
    <xsd:element name="LikesCount" ma:index="10" nillable="true" ma:displayName="Number of Likes" ma:internalName="LikesCount">
      <xsd:simpleType>
        <xsd:restriction base="dms:Unknown"/>
      </xsd:simpleType>
    </xsd:element>
    <xsd:element name="RatedBy" ma:index="24" nillable="true" ma:displayName="Rated By" ma:description="Users rated the item." ma:hidden="true" ma:list="UserInfo" ma:internalName="RatedBy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Ratings" ma:index="25" nillable="true" ma:displayName="User ratings" ma:description="User ratings for the item" ma:hidden="true" ma:internalName="Ratings">
      <xsd:simpleType>
        <xsd:restriction base="dms:Note"/>
      </xsd:simpleType>
    </xsd:element>
    <xsd:element name="LikedBy" ma:index="26" nillable="true" ma:displayName="Liked By" ma:hidden="true" ma:list="UserInfo" ma:internalName="LikedBy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d7288e-fd47-4b8f-bda7-84d5b168c232" elementFormDefault="qualified">
    <xsd:import namespace="http://schemas.microsoft.com/office/2006/documentManagement/types"/>
    <xsd:import namespace="http://schemas.microsoft.com/office/infopath/2007/PartnerControls"/>
    <xsd:element name="Project_x0020_Type" ma:index="2" nillable="true" ma:displayName="Project Type" ma:description="" ma:list="{02cdf206-7014-47bb-9aba-48baa044ef50}" ma:internalName="Project_x0020_Type" ma:showField="Title" ma:web="{C40748D8-3082-4089-99B4-09272B415E1F}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herapeutic_x0020_Area" ma:index="3" nillable="true" ma:displayName="Therapeutic Area" ma:description="" ma:list="{f470a603-1804-4f18-bd66-36054becb5f1}" ma:internalName="Therapeutic_x0020_Area" ma:showField="Title" ma:web="{C40748D8-3082-4089-99B4-09272B415E1F}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Product_x0020_Type" ma:index="4" nillable="true" ma:displayName="Product Type" ma:list="{d1cde823-08b7-4ac7-9131-2edfa5061b96}" ma:internalName="Product_x0020_Type" ma:showField="Titl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ContentType0" ma:index="5" nillable="true" ma:displayName="Content Type" ma:description="" ma:list="{dfbbf692-66cd-435b-b6d3-972a2e9833b8}" ma:internalName="ContentType0" ma:readOnly="false" ma:showField="Title" ma:web="{C40748D8-3082-4089-99B4-09272B415E1F}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Owner" ma:index="6" nillable="true" ma:displayName="Owner" ma:format="Dropdown" ma:list="UserInfo" ma:SearchPeopleOnly="false" ma:SharePointGroup="0" ma:internalName="Owner" ma:readOnly="false" ma:showField="Titl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Year" ma:index="7" nillable="true" ma:displayName="Year" ma:decimals="0" ma:description="" ma:internalName="Year" ma:percentage="FALSE">
      <xsd:simpleType>
        <xsd:restriction base="dms:Number"/>
      </xsd:simpleType>
    </xsd:element>
    <xsd:element name="MediaServiceMetadata" ma:index="15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6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20" nillable="true" ma:displayName="Tags" ma:internalName="MediaServiceAutoTags" ma:readOnly="true">
      <xsd:simpleType>
        <xsd:restriction base="dms:Text"/>
      </xsd:simple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7" nillable="true" ma:displayName="Length (seconds)" ma:internalName="MediaLengthInSeconds" ma:readOnly="true">
      <xsd:simpleType>
        <xsd:restriction base="dms:Unknown"/>
      </xsd:simpleType>
    </xsd:element>
    <xsd:element name="MediaServiceLocation" ma:index="28" nillable="true" ma:displayName="Location" ma:internalName="MediaServiceLocation" ma:readOnly="true">
      <xsd:simpleType>
        <xsd:restriction base="dms:Text"/>
      </xsd:simpleType>
    </xsd:element>
    <xsd:element name="Key_x0020_Element" ma:index="33" nillable="true" ma:displayName="Key Element" ma:list="{b98aa381-62b7-4aa6-8aea-59f8a42c83ad}" ma:internalName="Key_x0020_Element" ma:readOnly="false" ma:showField="Titl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lcf76f155ced4ddcb4097134ff3c332f" ma:index="35" nillable="true" ma:taxonomy="true" ma:internalName="lcf76f155ced4ddcb4097134ff3c332f" ma:taxonomyFieldName="MediaServiceImageTags" ma:displayName="Image Tags" ma:readOnly="false" ma:fieldId="{5cf76f15-5ced-4ddc-b409-7134ff3c332f}" ma:taxonomyMulti="true" ma:sspId="f2af4010-5c2f-430e-9a89-2381fc4d542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37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38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39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40748d8-3082-4089-99b4-09272b415e1f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36" nillable="true" ma:displayName="Taxonomy Catch All Column" ma:hidden="true" ma:list="{eaa9f468-7245-4dec-b934-a175eca6f57f}" ma:internalName="TaxCatchAll" ma:showField="CatchAllData" ma:web="c40748d8-3082-4089-99b4-09272b415e1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29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7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8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Props1.xml><?xml version="1.0" encoding="utf-8"?>
<ds:datastoreItem xmlns:ds="http://schemas.openxmlformats.org/officeDocument/2006/customXml" ds:itemID="{0131ADF9-73EC-4A8F-BA88-ACED118756D4}">
  <ds:schemaRefs>
    <ds:schemaRef ds:uri="http://www.plsfix.com/xml"/>
  </ds:schemaRefs>
</ds:datastoreItem>
</file>

<file path=customXml/itemProps2.xml><?xml version="1.0" encoding="utf-8"?>
<ds:datastoreItem xmlns:ds="http://schemas.openxmlformats.org/officeDocument/2006/customXml" ds:itemID="{153240DE-793C-457A-A468-CAFD28CB16A9}">
  <ds:schemaRefs>
    <ds:schemaRef ds:uri="http://schemas.openxmlformats.org/package/2006/metadata/core-properties"/>
    <ds:schemaRef ds:uri="http://purl.org/dc/dcmitype/"/>
    <ds:schemaRef ds:uri="e5d7288e-fd47-4b8f-bda7-84d5b168c232"/>
    <ds:schemaRef ds:uri="http://schemas.microsoft.com/office/2006/metadata/properties"/>
    <ds:schemaRef ds:uri="http://schemas.microsoft.com/office/infopath/2007/PartnerControls"/>
    <ds:schemaRef ds:uri="http://purl.org/dc/elements/1.1/"/>
    <ds:schemaRef ds:uri="http://schemas.microsoft.com/office/2006/documentManagement/types"/>
    <ds:schemaRef ds:uri="c40748d8-3082-4089-99b4-09272b415e1f"/>
    <ds:schemaRef ds:uri="http://schemas.microsoft.com/sharepoint/v3"/>
    <ds:schemaRef ds:uri="http://www.w3.org/XML/1998/namespace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16BCC5B5-FB19-4813-959B-7D945745F9A7}">
  <ds:schemaRefs>
    <ds:schemaRef ds:uri="http://www.plsfix.com/xml"/>
  </ds:schemaRefs>
</ds:datastoreItem>
</file>

<file path=customXml/itemProps4.xml><?xml version="1.0" encoding="utf-8"?>
<ds:datastoreItem xmlns:ds="http://schemas.openxmlformats.org/officeDocument/2006/customXml" ds:itemID="{173745A5-D386-4976-9B58-059A5C4A4539}">
  <ds:schemaRefs>
    <ds:schemaRef ds:uri="c40748d8-3082-4089-99b4-09272b415e1f"/>
    <ds:schemaRef ds:uri="e5d7288e-fd47-4b8f-bda7-84d5b168c23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5.xml><?xml version="1.0" encoding="utf-8"?>
<ds:datastoreItem xmlns:ds="http://schemas.openxmlformats.org/officeDocument/2006/customXml" ds:itemID="{4DA80313-1CB4-41B2-951A-09699F3231DB}">
  <ds:schemaRefs>
    <ds:schemaRef ds:uri="http://schemas.microsoft.com/sharepoint/v3/contenttype/forms"/>
  </ds:schemaRefs>
</ds:datastoreItem>
</file>

<file path=customXml/itemProps6.xml><?xml version="1.0" encoding="utf-8"?>
<ds:datastoreItem xmlns:ds="http://schemas.openxmlformats.org/officeDocument/2006/customXml" ds:itemID="{947F0708-3F42-4977-BF21-C6190A21608B}">
  <ds:schemaRefs>
    <ds:schemaRef ds:uri="http://www.plsfix.com/xml"/>
  </ds:schemaRefs>
</ds:datastoreItem>
</file>

<file path=customXml/itemProps7.xml><?xml version="1.0" encoding="utf-8"?>
<ds:datastoreItem xmlns:ds="http://schemas.openxmlformats.org/officeDocument/2006/customXml" ds:itemID="{97200902-2F8F-44C5-A110-0B9869F3AACF}">
  <ds:schemaRefs>
    <ds:schemaRef ds:uri="http://www.plsfix.com/xml"/>
  </ds:schemaRefs>
</ds:datastoreItem>
</file>

<file path=customXml/itemProps8.xml><?xml version="1.0" encoding="utf-8"?>
<ds:datastoreItem xmlns:ds="http://schemas.openxmlformats.org/officeDocument/2006/customXml" ds:itemID="{3FD8F76C-7B6B-41B8-AF54-D85043488646}">
  <ds:schemaRefs>
    <ds:schemaRef ds:uri="http://www.plsfix.com/xm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01_EVERSANA_v2</Template>
  <TotalTime>0</TotalTime>
  <Words>3485</Words>
  <Application>Microsoft Office PowerPoint</Application>
  <PresentationFormat>Widescreen</PresentationFormat>
  <Paragraphs>603</Paragraphs>
  <Slides>21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2" baseType="lpstr">
      <vt:lpstr>Aptos</vt:lpstr>
      <vt:lpstr>Arial</vt:lpstr>
      <vt:lpstr>Arial Black</vt:lpstr>
      <vt:lpstr>Calibri</vt:lpstr>
      <vt:lpstr>Courier New</vt:lpstr>
      <vt:lpstr>Kokila</vt:lpstr>
      <vt:lpstr>Wingdings</vt:lpstr>
      <vt:lpstr>EVERSANA Template 1Q25</vt:lpstr>
      <vt:lpstr>1_EVERSANA Template 1Q25</vt:lpstr>
      <vt:lpstr>2_EVERSANA Template 1Q25</vt:lpstr>
      <vt:lpstr>think-cell Slide</vt:lpstr>
      <vt:lpstr>Market Access Strategy and Forecast Weekly Check-In</vt:lpstr>
      <vt:lpstr>Agenda</vt:lpstr>
      <vt:lpstr>PowerPoint Presentation</vt:lpstr>
      <vt:lpstr>Project Dashboard – November 10th, 2025</vt:lpstr>
      <vt:lpstr>Proposed Timeline</vt:lpstr>
      <vt:lpstr>PowerPoint Presentation</vt:lpstr>
      <vt:lpstr>Overview of Analogues (Non-Oncology)</vt:lpstr>
      <vt:lpstr>Overview of Analogues (Oncology)</vt:lpstr>
      <vt:lpstr>U.S. Disease Prevalence vs Annualized 2024 WAC</vt:lpstr>
      <vt:lpstr>PowerPoint Presentation</vt:lpstr>
      <vt:lpstr>Next Steps </vt:lpstr>
      <vt:lpstr>PowerPoint Presentation</vt:lpstr>
      <vt:lpstr>Project Discussion Primary Market Research Interview Materials </vt:lpstr>
      <vt:lpstr>Project Discussion Primary Market Research Survey Materials </vt:lpstr>
      <vt:lpstr>Background and Situation Background and Business Need</vt:lpstr>
      <vt:lpstr>Background and Business Need Key Business Questions (1 of 2)</vt:lpstr>
      <vt:lpstr>Background and Business Need Key Business Questions (2 of 2)</vt:lpstr>
      <vt:lpstr>Project Approach Project Phases Overview</vt:lpstr>
      <vt:lpstr>Detailed Project Approach: US Landscape and Foundational Insights  Align on Key Business Questions</vt:lpstr>
      <vt:lpstr>Detailed Project Approach: US Landscape and Foundational Insights Develop NUZ-001 TPPs and Value Proposition</vt:lpstr>
      <vt:lpstr>Primary Market Research Approach</vt:lpstr>
    </vt:vector>
  </TitlesOfParts>
  <Manager/>
  <Company>EVERSANA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mmercial Support Proposal</dc:title>
  <dc:subject/>
  <dc:creator>Chad McAuliffe</dc:creator>
  <cp:keywords/>
  <dc:description/>
  <cp:lastModifiedBy>Felipe Platzer</cp:lastModifiedBy>
  <cp:revision>1</cp:revision>
  <cp:lastPrinted>2018-09-28T20:58:46Z</cp:lastPrinted>
  <dcterms:created xsi:type="dcterms:W3CDTF">2025-04-09T14:02:47Z</dcterms:created>
  <dcterms:modified xsi:type="dcterms:W3CDTF">2025-11-15T21:40:04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1838234E92C044C95FB2BB4708D77A8</vt:lpwstr>
  </property>
  <property fmtid="{D5CDD505-2E9C-101B-9397-08002B2CF9AE}" pid="3" name="MediaServiceImageTags">
    <vt:lpwstr/>
  </property>
</Properties>
</file>